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3.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4.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7.xml" ContentType="application/vnd.openxmlformats-officedocument.theme+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8.xml" ContentType="application/vnd.openxmlformats-officedocument.theme+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9.xml" ContentType="application/vnd.openxmlformats-officedocument.theme+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theme/theme10.xml" ContentType="application/vnd.openxmlformats-officedocument.theme+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theme/theme11.xml" ContentType="application/vnd.openxmlformats-officedocument.theme+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theme/theme12.xml" ContentType="application/vnd.openxmlformats-officedocument.theme+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58" r:id="rId5"/>
    <p:sldMasterId id="2147483791" r:id="rId6"/>
    <p:sldMasterId id="2147483912" r:id="rId7"/>
    <p:sldMasterId id="2147483934" r:id="rId8"/>
    <p:sldMasterId id="2147483956" r:id="rId9"/>
    <p:sldMasterId id="2147484001" r:id="rId10"/>
    <p:sldMasterId id="2147484045" r:id="rId11"/>
    <p:sldMasterId id="2147484075" r:id="rId12"/>
    <p:sldMasterId id="2147484111" r:id="rId13"/>
    <p:sldMasterId id="2147484141" r:id="rId14"/>
    <p:sldMasterId id="2147484171" r:id="rId15"/>
    <p:sldMasterId id="2147484201" r:id="rId16"/>
    <p:sldMasterId id="2147484241" r:id="rId17"/>
  </p:sldMasterIdLst>
  <p:notesMasterIdLst>
    <p:notesMasterId r:id="rId65"/>
  </p:notesMasterIdLst>
  <p:sldIdLst>
    <p:sldId id="488" r:id="rId18"/>
    <p:sldId id="501" r:id="rId19"/>
    <p:sldId id="456" r:id="rId20"/>
    <p:sldId id="437" r:id="rId21"/>
    <p:sldId id="492" r:id="rId22"/>
    <p:sldId id="487" r:id="rId23"/>
    <p:sldId id="454" r:id="rId24"/>
    <p:sldId id="440" r:id="rId25"/>
    <p:sldId id="459" r:id="rId26"/>
    <p:sldId id="365" r:id="rId27"/>
    <p:sldId id="367" r:id="rId28"/>
    <p:sldId id="396" r:id="rId29"/>
    <p:sldId id="463" r:id="rId30"/>
    <p:sldId id="468" r:id="rId31"/>
    <p:sldId id="469" r:id="rId32"/>
    <p:sldId id="470" r:id="rId33"/>
    <p:sldId id="471" r:id="rId34"/>
    <p:sldId id="475" r:id="rId35"/>
    <p:sldId id="375" r:id="rId36"/>
    <p:sldId id="458" r:id="rId37"/>
    <p:sldId id="510" r:id="rId38"/>
    <p:sldId id="381" r:id="rId39"/>
    <p:sldId id="445" r:id="rId40"/>
    <p:sldId id="387" r:id="rId41"/>
    <p:sldId id="452" r:id="rId42"/>
    <p:sldId id="490" r:id="rId43"/>
    <p:sldId id="491" r:id="rId44"/>
    <p:sldId id="384" r:id="rId45"/>
    <p:sldId id="385" r:id="rId46"/>
    <p:sldId id="390" r:id="rId47"/>
    <p:sldId id="461" r:id="rId48"/>
    <p:sldId id="462" r:id="rId49"/>
    <p:sldId id="484" r:id="rId50"/>
    <p:sldId id="503" r:id="rId51"/>
    <p:sldId id="500" r:id="rId52"/>
    <p:sldId id="502" r:id="rId53"/>
    <p:sldId id="504" r:id="rId54"/>
    <p:sldId id="505" r:id="rId55"/>
    <p:sldId id="486" r:id="rId56"/>
    <p:sldId id="509" r:id="rId57"/>
    <p:sldId id="380" r:id="rId58"/>
    <p:sldId id="441" r:id="rId59"/>
    <p:sldId id="464" r:id="rId60"/>
    <p:sldId id="512" r:id="rId61"/>
    <p:sldId id="472" r:id="rId62"/>
    <p:sldId id="378" r:id="rId63"/>
    <p:sldId id="495" r:id="rId6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000" userDrawn="1">
          <p15:clr>
            <a:srgbClr val="A4A3A4"/>
          </p15:clr>
        </p15:guide>
        <p15:guide id="2" pos="242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CC00"/>
    <a:srgbClr val="00A400"/>
    <a:srgbClr val="009200"/>
    <a:srgbClr val="006C00"/>
    <a:srgbClr val="0072C6"/>
    <a:srgbClr val="505050"/>
    <a:srgbClr val="FF8989"/>
    <a:srgbClr val="282828"/>
    <a:srgbClr val="6821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765" autoAdjust="0"/>
    <p:restoredTop sz="64887" autoAdjust="0"/>
  </p:normalViewPr>
  <p:slideViewPr>
    <p:cSldViewPr snapToGrid="0">
      <p:cViewPr varScale="1">
        <p:scale>
          <a:sx n="81" d="100"/>
          <a:sy n="81" d="100"/>
        </p:scale>
        <p:origin x="1566" y="84"/>
      </p:cViewPr>
      <p:guideLst>
        <p:guide orient="horz" pos="3000"/>
        <p:guide pos="2424"/>
      </p:guideLst>
    </p:cSldViewPr>
  </p:slideViewPr>
  <p:notesTextViewPr>
    <p:cViewPr>
      <p:scale>
        <a:sx n="125" d="100"/>
        <a:sy n="125" d="100"/>
      </p:scale>
      <p:origin x="0" y="0"/>
    </p:cViewPr>
  </p:notesTextViewPr>
  <p:sorterViewPr>
    <p:cViewPr>
      <p:scale>
        <a:sx n="100" d="100"/>
        <a:sy n="100" d="100"/>
      </p:scale>
      <p:origin x="0" y="-364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slide" Target="slides/slide30.xml"/><Relationship Id="rId50" Type="http://schemas.openxmlformats.org/officeDocument/2006/relationships/slide" Target="slides/slide33.xml"/><Relationship Id="rId55" Type="http://schemas.openxmlformats.org/officeDocument/2006/relationships/slide" Target="slides/slide38.xml"/><Relationship Id="rId63" Type="http://schemas.openxmlformats.org/officeDocument/2006/relationships/slide" Target="slides/slide46.xml"/><Relationship Id="rId68" Type="http://schemas.openxmlformats.org/officeDocument/2006/relationships/viewProps" Target="viewProp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Master" Target="slideMasters/slideMaster12.xml"/><Relationship Id="rId29"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slide" Target="slides/slide36.xml"/><Relationship Id="rId58" Type="http://schemas.openxmlformats.org/officeDocument/2006/relationships/slide" Target="slides/slide41.xml"/><Relationship Id="rId66" Type="http://schemas.openxmlformats.org/officeDocument/2006/relationships/commentAuthors" Target="commentAuthors.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61" Type="http://schemas.openxmlformats.org/officeDocument/2006/relationships/slide" Target="slides/slide44.xml"/><Relationship Id="rId10" Type="http://schemas.openxmlformats.org/officeDocument/2006/relationships/slideMaster" Target="slideMasters/slideMaster6.xml"/><Relationship Id="rId19" Type="http://schemas.openxmlformats.org/officeDocument/2006/relationships/slide" Target="slides/slide2.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theme" Target="theme/theme1.xml"/><Relationship Id="rId8" Type="http://schemas.openxmlformats.org/officeDocument/2006/relationships/slideMaster" Target="slideMasters/slideMaster4.xml"/><Relationship Id="rId51" Type="http://schemas.openxmlformats.org/officeDocument/2006/relationships/slide" Target="slides/slide34.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presProps" Target="presProps.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3CB7632-DA6A-4806-AED3-DAD65F26496D}" type="datetimeFigureOut">
              <a:rPr lang="en-US" smtClean="0"/>
              <a:t>6/17/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B8AD64-0AA2-4D71-8B13-28C950C46D2A}" type="slidenum">
              <a:rPr lang="en-US" smtClean="0"/>
              <a:t>‹#›</a:t>
            </a:fld>
            <a:endParaRPr lang="en-US"/>
          </a:p>
        </p:txBody>
      </p:sp>
    </p:spTree>
    <p:extLst>
      <p:ext uri="{BB962C8B-B14F-4D97-AF65-F5344CB8AC3E}">
        <p14:creationId xmlns:p14="http://schemas.microsoft.com/office/powerpoint/2010/main" val="31401196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peninsulapress.com/2015/03/31/cybersecurity-jobs-growth/"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www.cisco.com/c/dam/en/us/products/collateral/security/cybersecurity-talent.pdf"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blog.returnpath.com/blog/ken-takahashi/how-easy-was-it-for-a-routine-phishing-scam-to-rock-global-financial-markets"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www.fowcommunity.com/"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www.forbes.com/sites/jacobmorgan/2014/10/30/everything-you-need-to-know-about-the-internet-of-things/" TargetMode="Externa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thehackernews.com/2016/05/usb-charger-keylogger.html"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msdn.microsoft.com/en-us/library/system.security.cryptography.rngcryptoserviceprovider.aspx"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wired.com/2016/05/maksym-igor-popov-fbi/"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news.microsoft.com/stories/cybercrime/index.HTML"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B8AD64-0AA2-4D71-8B13-28C950C46D2A}" type="slidenum">
              <a:rPr lang="en-US" smtClean="0"/>
              <a:t>1</a:t>
            </a:fld>
            <a:endParaRPr lang="en-US"/>
          </a:p>
        </p:txBody>
      </p:sp>
    </p:spTree>
    <p:extLst>
      <p:ext uri="{BB962C8B-B14F-4D97-AF65-F5344CB8AC3E}">
        <p14:creationId xmlns:p14="http://schemas.microsoft.com/office/powerpoint/2010/main" val="41651057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eck Wired, The Hacker News or any national news outlet. Cyber crime happens every single day. There are hundreds of thousands of new individual computer viruses popping up today, and tens of thousands of websites becoming infected.</a:t>
            </a:r>
          </a:p>
          <a:p>
            <a:endParaRPr lang="en-US" dirty="0"/>
          </a:p>
          <a:p>
            <a:r>
              <a:rPr lang="en-US" dirty="0"/>
              <a:t>We use computers everywhere, all of the time. Medical records, bank accounts, car loans, credit cards, your class schedule and grades, your car, the planes and trains we travel in…. All store your personal or operational data. We can’t get away from a data-centric life. And that data has value to criminals. Credit histories, professional achievements, and academic records can be manipulated to create new identities and ruin the individual history from which they were stolen.</a:t>
            </a:r>
          </a:p>
          <a:p>
            <a:endParaRPr lang="en-US" dirty="0"/>
          </a:p>
          <a:p>
            <a:r>
              <a:rPr lang="en-US" dirty="0"/>
              <a:t>This problem is invasive and expensive and we desperately, as individuals and collectively, need someone to solve the enigma: how do we get ahead of attacks before they happen? How do we out-think the hacker society before they out think our security measures? </a:t>
            </a:r>
          </a:p>
        </p:txBody>
      </p:sp>
      <p:sp>
        <p:nvSpPr>
          <p:cNvPr id="4" name="Slide Number Placeholder 3"/>
          <p:cNvSpPr>
            <a:spLocks noGrp="1"/>
          </p:cNvSpPr>
          <p:nvPr>
            <p:ph type="sldNum" sz="quarter" idx="10"/>
          </p:nvPr>
        </p:nvSpPr>
        <p:spPr/>
        <p:txBody>
          <a:bodyPr/>
          <a:lstStyle/>
          <a:p>
            <a:fld id="{B2B8AD64-0AA2-4D71-8B13-28C950C46D2A}" type="slidenum">
              <a:rPr lang="en-US" smtClean="0"/>
              <a:t>11</a:t>
            </a:fld>
            <a:endParaRPr lang="en-US"/>
          </a:p>
        </p:txBody>
      </p:sp>
    </p:spTree>
    <p:extLst>
      <p:ext uri="{BB962C8B-B14F-4D97-AF65-F5344CB8AC3E}">
        <p14:creationId xmlns:p14="http://schemas.microsoft.com/office/powerpoint/2010/main" val="18949161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a:t>
            </a:r>
            <a:r>
              <a:rPr lang="en-US" baseline="0" dirty="0"/>
              <a:t> combat the growing number of and evolving threat of cyber attacks, businesses across all industries and geographies are looking to….”</a:t>
            </a:r>
          </a:p>
          <a:p>
            <a:endParaRPr lang="en-US" baseline="0" dirty="0"/>
          </a:p>
          <a:p>
            <a:r>
              <a:rPr lang="en-US" sz="1200" b="0" i="0" kern="1200" dirty="0">
                <a:solidFill>
                  <a:schemeClr val="tx1"/>
                </a:solidFill>
                <a:effectLst/>
                <a:latin typeface="+mn-lt"/>
                <a:ea typeface="+mn-ea"/>
                <a:cs typeface="+mn-cs"/>
              </a:rPr>
              <a:t>More than </a:t>
            </a:r>
            <a:r>
              <a:rPr lang="en-US" sz="1200" b="0" i="0" u="none" strike="noStrike" kern="1200" dirty="0">
                <a:solidFill>
                  <a:schemeClr val="tx1"/>
                </a:solidFill>
                <a:effectLst/>
                <a:latin typeface="+mn-lt"/>
                <a:ea typeface="+mn-ea"/>
                <a:cs typeface="+mn-cs"/>
                <a:hlinkClick r:id="rId3"/>
              </a:rPr>
              <a:t>209,000 cybersecurity jobs</a:t>
            </a:r>
            <a:r>
              <a:rPr lang="en-US" sz="1200" b="0" i="0" kern="1200" dirty="0">
                <a:solidFill>
                  <a:schemeClr val="tx1"/>
                </a:solidFill>
                <a:effectLst/>
                <a:latin typeface="+mn-lt"/>
                <a:ea typeface="+mn-ea"/>
                <a:cs typeface="+mn-cs"/>
              </a:rPr>
              <a:t> in the U.S. are unfilled, and postings are up 74% over the past five years, according to a 2015 analysis of numbers from the Bureau of Labor Statistics by Peninsula Press, a project of the Stanford University Journalism Program.</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 </a:t>
            </a:r>
            <a:r>
              <a:rPr lang="en-US" sz="1200" b="0" i="0" u="none" strike="noStrike" kern="1200" dirty="0">
                <a:solidFill>
                  <a:schemeClr val="tx1"/>
                </a:solidFill>
                <a:effectLst/>
                <a:latin typeface="+mn-lt"/>
                <a:ea typeface="+mn-ea"/>
                <a:cs typeface="+mn-cs"/>
                <a:hlinkClick r:id="rId4"/>
              </a:rPr>
              <a:t>report</a:t>
            </a:r>
            <a:r>
              <a:rPr lang="en-US" sz="1200" b="0" i="0" kern="1200" dirty="0">
                <a:solidFill>
                  <a:schemeClr val="tx1"/>
                </a:solidFill>
                <a:effectLst/>
                <a:latin typeface="+mn-lt"/>
                <a:ea typeface="+mn-ea"/>
                <a:cs typeface="+mn-cs"/>
              </a:rPr>
              <a:t> from Cisco puts the global figure at one million cybersecurity job openings. Demand is expected to rise to 6 million globally by 2019, with a projected shortfall of 1.5 million, says Michael Brown, CEO at Symantec, the world’s largest security software vendor. It looks like solving the puzzle</a:t>
            </a:r>
            <a:r>
              <a:rPr lang="en-US" sz="1200" b="0" i="0" kern="1200" baseline="0" dirty="0">
                <a:solidFill>
                  <a:schemeClr val="tx1"/>
                </a:solidFill>
                <a:effectLst/>
                <a:latin typeface="+mn-lt"/>
                <a:ea typeface="+mn-ea"/>
                <a:cs typeface="+mn-cs"/>
              </a:rPr>
              <a:t> is </a:t>
            </a:r>
            <a:r>
              <a:rPr lang="en-US" dirty="0"/>
              <a:t>financially lucrative! </a:t>
            </a:r>
          </a:p>
          <a:p>
            <a:endParaRPr lang="en-US" dirty="0"/>
          </a:p>
          <a:p>
            <a:r>
              <a:rPr lang="en-US" dirty="0"/>
              <a:t>We need to identify who is going to help fill these positions. Could it be you? We hope so. We want and desperately need highly trained investigators who have the knowledge of systems, code,  app development … but there is no clear path, no certifications and very few university-level specialization opportunities for education.</a:t>
            </a:r>
          </a:p>
          <a:p>
            <a:endParaRPr lang="en-US" dirty="0"/>
          </a:p>
          <a:p>
            <a:r>
              <a:rPr lang="en-US" dirty="0"/>
              <a:t>This is another puzzle to be solved!</a:t>
            </a:r>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12</a:t>
            </a:fld>
            <a:endParaRPr lang="en-US"/>
          </a:p>
        </p:txBody>
      </p:sp>
    </p:spTree>
    <p:extLst>
      <p:ext uri="{BB962C8B-B14F-4D97-AF65-F5344CB8AC3E}">
        <p14:creationId xmlns:p14="http://schemas.microsoft.com/office/powerpoint/2010/main" val="14119911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pPr marL="171450" indent="-171450">
              <a:buFont typeface="Arial" panose="020B0604020202020204" pitchFamily="34" charset="0"/>
              <a:buChar char="•"/>
            </a:pPr>
            <a:r>
              <a:rPr lang="en-US" baseline="0" dirty="0"/>
              <a:t>Cyber security involves a  whole wealth of talents, from synthesizing all sorts of different types of information, to the development of algorithms and creative code. To be effective, you need to be part sleuth and part innovator, detail oriented and collaborative. Education is important, but that’s just the start: you will be learning something new every day.</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aseline="0" dirty="0"/>
              <a:t>Who is the perfect fit? Studying computer science is a great start. Studying data science, structures and algorithms will give you the foundation, but there is a lot to learn on the job. Part of that job will be consistently learning and problem solving to get in front of a potential issue or find the root cause.</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Curiosity is the driver behind successful investigators. It’s what keeps you asking the why’s and learning more and more about the situation. Do you find yourself unsatisfied with an easy explanation for a complex problem? Are you constantly looking for another angle to a problem and it’s solution?</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a:t>
            </a:r>
            <a:r>
              <a:rPr lang="en-US" dirty="0" err="1"/>
              <a:t>cybersleuth</a:t>
            </a:r>
            <a:r>
              <a:rPr lang="en-US" dirty="0"/>
              <a:t> is also going to be adaptable – he or she will be able to adapt to the constantly changing environment. There is nothing static about the hacker intellect – they are pushing for new and innovative ways to disrupt the norm, steal and control their targets. How quickly do you think? Can you change direction quickly?</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aseline="0" dirty="0"/>
              <a:t>We need some super heroes: we need you to be the next great </a:t>
            </a:r>
            <a:r>
              <a:rPr lang="en-US" baseline="0" dirty="0" err="1"/>
              <a:t>cybersleuth</a:t>
            </a:r>
            <a:r>
              <a:rPr lang="en-US" baseline="0" dirty="0"/>
              <a:t> and visionaries. </a:t>
            </a:r>
            <a:r>
              <a:rPr lang="en-US" dirty="0"/>
              <a:t>There are going to be opportunities for you to save people from identity and financial theft, to develop protection from the bad guys. To work tirelessly for those you will never meet to create a secure and safe environment for all. Are </a:t>
            </a:r>
            <a:r>
              <a:rPr lang="en-US" baseline="0" dirty="0"/>
              <a:t>you </a:t>
            </a:r>
            <a:r>
              <a:rPr lang="en-US" dirty="0"/>
              <a:t>our next super hero</a:t>
            </a:r>
            <a:r>
              <a:rPr lang="en-US" baseline="0" dirty="0"/>
              <a:t>?</a:t>
            </a:r>
          </a:p>
          <a:p>
            <a:pPr>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13</a:t>
            </a:fld>
            <a:endParaRPr lang="en-US"/>
          </a:p>
        </p:txBody>
      </p:sp>
    </p:spTree>
    <p:extLst>
      <p:ext uri="{BB962C8B-B14F-4D97-AF65-F5344CB8AC3E}">
        <p14:creationId xmlns:p14="http://schemas.microsoft.com/office/powerpoint/2010/main" val="3283971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lack</a:t>
            </a:r>
            <a:r>
              <a:rPr lang="en-US"/>
              <a:t> hats are the troublemakers. They wreck havoc, cause disruption, steal and electronically deface with malicious intent.</a:t>
            </a:r>
            <a:endParaRPr lang="en-US" dirty="0"/>
          </a:p>
          <a:p>
            <a:endParaRPr lang="en-US" dirty="0"/>
          </a:p>
          <a:p>
            <a:r>
              <a:rPr lang="en-US"/>
              <a:t>Sometimes it is a single hacker and sometimes it’s the result of a hacking society like Anonymous. If you’ve not heard of them yet, they are a hacking society that practices a concept called “Hacktivism”, or activism via hacking – hacking for a cause that they deem important to better or protect society. They are made up of a group of anonymous hackers spread across multiple countries and continents. They’ve been responsible for both network hacks and in person protests. </a:t>
            </a:r>
            <a:endParaRPr lang="en-US" dirty="0"/>
          </a:p>
          <a:p>
            <a:endParaRPr lang="en-US" dirty="0"/>
          </a:p>
          <a:p>
            <a:r>
              <a:rPr lang="en-US"/>
              <a:t>The common weapon of the hacktivist is a Distributed Denial of Service (DDoS) attack, which bombards the target servers with thousands of page requests (similar to masses of people sitting on the site and continually pressing refresh), eventually overloading and crashing the site It’s similar to a virtual sit-in; it’s not destructive, instead it’s more of a disruption of service causing annoyance instead of theft. Any potential user would be unable to access the site, creating a disruption in the user experience and normalcy of operations. </a:t>
            </a:r>
            <a:endParaRPr lang="en-US" dirty="0"/>
          </a:p>
          <a:p>
            <a:endParaRPr lang="en-US" dirty="0"/>
          </a:p>
          <a:p>
            <a:r>
              <a:rPr lang="en-US"/>
              <a:t>The other side of hacking is made up of legitimate and legal hackers – cyber security experts – that work to block the hackers’ work and ensure the integrity and security of an organization's systems. This is the side of the equation that we like to focus on and the reason that I am talking to you today. White hats are employed by just about every corporation, government and the military. The US military academies have been  developing their cyber security curriculums and skills and participating in competitions with a us security agency for the past 15 years! </a:t>
            </a:r>
            <a:endParaRPr lang="en-US" dirty="0"/>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14</a:t>
            </a:fld>
            <a:endParaRPr lang="en-US"/>
          </a:p>
        </p:txBody>
      </p:sp>
    </p:spTree>
    <p:extLst>
      <p:ext uri="{BB962C8B-B14F-4D97-AF65-F5344CB8AC3E}">
        <p14:creationId xmlns:p14="http://schemas.microsoft.com/office/powerpoint/2010/main" val="31269993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hackerone.com/about#_</a:t>
            </a:r>
          </a:p>
          <a:p>
            <a:endParaRPr lang="en-US" dirty="0"/>
          </a:p>
          <a:p>
            <a:r>
              <a:rPr lang="en-US" dirty="0"/>
              <a:t>It’s become commonplace for both businesses and governments</a:t>
            </a:r>
            <a:r>
              <a:rPr lang="en-US" baseline="0" dirty="0"/>
              <a:t> to partially outsource their testing of bugs and vulnerability to the hacking community.  “Good” hackers will look for bugs and entry points into an enterprise.  In return, a “bounty” is paid when a vulnerability is discovered.  </a:t>
            </a:r>
            <a:r>
              <a:rPr lang="en-US" baseline="0" dirty="0" err="1"/>
              <a:t>HackerOne</a:t>
            </a:r>
            <a:r>
              <a:rPr lang="en-US" baseline="0" dirty="0"/>
              <a:t> was created by security leaders from some of the worlds largest companies to more efficiently connect businesses with the hacking community.  More info: https://hackerone.com/resources/bug-bounty-basics</a:t>
            </a:r>
          </a:p>
          <a:p>
            <a:endParaRPr lang="en-US" dirty="0"/>
          </a:p>
          <a:p>
            <a:pPr>
              <a:defRPr/>
            </a:pPr>
            <a:r>
              <a:rPr lang="en-US" dirty="0"/>
              <a:t>In 2013, Google offered large rewards</a:t>
            </a:r>
            <a:r>
              <a:rPr lang="en-US" baseline="0" dirty="0"/>
              <a:t> for </a:t>
            </a:r>
            <a:r>
              <a:rPr lang="en-US" dirty="0"/>
              <a:t>Chrome OS Hacking Contest. Mozilla has paid out over a million in awards in their Bug Bounty Program. Microsoft offers direct payouts for reporting certain types of bugs and vulnerabilities in Windows, Internet Explorer, and Microsoft Edge. Their program expanded to include their Azure (cloud) platform in 2015 which uses</a:t>
            </a:r>
            <a:r>
              <a:rPr lang="en-US" baseline="0" dirty="0"/>
              <a:t> and support a wide range of cross-platform and open source technologies</a:t>
            </a:r>
            <a:r>
              <a:rPr lang="en-US" dirty="0"/>
              <a:t>. It pays to be a white hat!</a:t>
            </a:r>
          </a:p>
          <a:p>
            <a:pPr>
              <a:defRPr/>
            </a:pPr>
            <a:endParaRPr lang="en-US" dirty="0"/>
          </a:p>
          <a:p>
            <a:pPr>
              <a:defRPr/>
            </a:pPr>
            <a:endParaRPr lang="en-US" dirty="0"/>
          </a:p>
          <a:p>
            <a:pPr>
              <a:defRPr/>
            </a:pPr>
            <a:endParaRPr lang="en-US" dirty="0"/>
          </a:p>
          <a:p>
            <a:pPr>
              <a:defRPr/>
            </a:pPr>
            <a:endParaRPr lang="en-US" dirty="0"/>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15</a:t>
            </a:fld>
            <a:endParaRPr lang="en-US"/>
          </a:p>
        </p:txBody>
      </p:sp>
    </p:spTree>
    <p:extLst>
      <p:ext uri="{BB962C8B-B14F-4D97-AF65-F5344CB8AC3E}">
        <p14:creationId xmlns:p14="http://schemas.microsoft.com/office/powerpoint/2010/main" val="19254270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a:t>
            </a:r>
            <a:r>
              <a:rPr lang="en-US"/>
              <a:t> Dark Web is defined as the encrypted network that sits between Tor (an encryption tool) servers and their clients. Though the websites are publicly visible, the IP addresses of the servers that run these sites are hidden, with their locations spoofed. Not all Dark Web sites use Tor. Some use similar services such as I2P - </a:t>
            </a:r>
            <a:r>
              <a:rPr lang="en-US" u="sng"/>
              <a:t>Silk Road Reloaded </a:t>
            </a:r>
            <a:r>
              <a:rPr lang="en-US"/>
              <a:t>uses this service. But the principle remains the same. The visitor has to use the same encryption tool as the site and - crucially - know where to find the site, in order to type in the URL and visit.</a:t>
            </a:r>
            <a:endParaRPr lang="en-US" dirty="0"/>
          </a:p>
          <a:p>
            <a:endParaRPr lang="en-US" dirty="0"/>
          </a:p>
          <a:p>
            <a:r>
              <a:rPr lang="en-US"/>
              <a:t>There is one layer deeper: The 'Deep Web' refers to all web pages that search engines cannot find. Thus the 'Deep Web' includes the 'Dark Web', but also includes all user databases, webmail pages, registration-required web forums, and pages behind paywalls. There are huge numbers of such pages, and most exist for mundane reasons.</a:t>
            </a:r>
          </a:p>
        </p:txBody>
      </p:sp>
      <p:sp>
        <p:nvSpPr>
          <p:cNvPr id="4" name="Slide Number Placeholder 3"/>
          <p:cNvSpPr>
            <a:spLocks noGrp="1"/>
          </p:cNvSpPr>
          <p:nvPr>
            <p:ph type="sldNum" sz="quarter" idx="10"/>
          </p:nvPr>
        </p:nvSpPr>
        <p:spPr/>
        <p:txBody>
          <a:bodyPr/>
          <a:lstStyle/>
          <a:p>
            <a:fld id="{B2B8AD64-0AA2-4D71-8B13-28C950C46D2A}" type="slidenum">
              <a:rPr lang="en-US" smtClean="0"/>
              <a:t>16</a:t>
            </a:fld>
            <a:endParaRPr lang="en-US"/>
          </a:p>
        </p:txBody>
      </p:sp>
    </p:spTree>
    <p:extLst>
      <p:ext uri="{BB962C8B-B14F-4D97-AF65-F5344CB8AC3E}">
        <p14:creationId xmlns:p14="http://schemas.microsoft.com/office/powerpoint/2010/main" val="24093749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r>
              <a:rPr lang="en-US" dirty="0">
                <a:gradFill>
                  <a:gsLst>
                    <a:gs pos="2917">
                      <a:schemeClr val="tx1"/>
                    </a:gs>
                    <a:gs pos="30000">
                      <a:schemeClr val="tx1"/>
                    </a:gs>
                  </a:gsLst>
                  <a:lin ang="5400000" scaled="0"/>
                </a:gradFill>
              </a:rPr>
              <a:t>One of the primary</a:t>
            </a:r>
            <a:r>
              <a:rPr lang="en-US" baseline="0" dirty="0">
                <a:gradFill>
                  <a:gsLst>
                    <a:gs pos="2917">
                      <a:schemeClr val="tx1"/>
                    </a:gs>
                    <a:gs pos="30000">
                      <a:schemeClr val="tx1"/>
                    </a:gs>
                  </a:gsLst>
                  <a:lin ang="5400000" scaled="0"/>
                </a:gradFill>
              </a:rPr>
              <a:t> </a:t>
            </a:r>
            <a:r>
              <a:rPr lang="en-US" dirty="0">
                <a:gradFill>
                  <a:gsLst>
                    <a:gs pos="2917">
                      <a:schemeClr val="tx1"/>
                    </a:gs>
                    <a:gs pos="30000">
                      <a:schemeClr val="tx1"/>
                    </a:gs>
                  </a:gsLst>
                  <a:lin ang="5400000" scaled="0"/>
                </a:gradFill>
              </a:rPr>
              <a:t>currencies</a:t>
            </a:r>
            <a:r>
              <a:rPr lang="en-US" baseline="0" dirty="0">
                <a:gradFill>
                  <a:gsLst>
                    <a:gs pos="2917">
                      <a:schemeClr val="tx1"/>
                    </a:gs>
                    <a:gs pos="30000">
                      <a:schemeClr val="tx1"/>
                    </a:gs>
                  </a:gsLst>
                  <a:lin ang="5400000" scaled="0"/>
                </a:gradFill>
              </a:rPr>
              <a:t> of the </a:t>
            </a:r>
            <a:r>
              <a:rPr lang="en-US" dirty="0">
                <a:gradFill>
                  <a:gsLst>
                    <a:gs pos="2917">
                      <a:schemeClr val="tx1"/>
                    </a:gs>
                    <a:gs pos="30000">
                      <a:schemeClr val="tx1"/>
                    </a:gs>
                  </a:gsLst>
                  <a:lin ang="5400000" scaled="0"/>
                </a:gradFill>
              </a:rPr>
              <a:t>dark web is Bitcoin</a:t>
            </a:r>
            <a:r>
              <a:rPr lang="en-US" baseline="0" dirty="0">
                <a:gradFill>
                  <a:gsLst>
                    <a:gs pos="2917">
                      <a:schemeClr val="tx1"/>
                    </a:gs>
                    <a:gs pos="30000">
                      <a:schemeClr val="tx1"/>
                    </a:gs>
                  </a:gsLst>
                  <a:lin ang="5400000" scaled="0"/>
                </a:gradFill>
              </a:rPr>
              <a:t> for the same reasons that criminals prefer to use the dark web: it’s anonymous and untraceable.  Using bitcoins, buyers can purchase illegal items with less fear of getting caught given that a financial trail doesn’t exist.  Several sites operate as exchanges for buying and selling of illegal products and services with bitcoin as the method of payment.</a:t>
            </a:r>
          </a:p>
          <a:p>
            <a:pPr>
              <a:lnSpc>
                <a:spcPct val="90000"/>
              </a:lnSpc>
              <a:spcAft>
                <a:spcPts val="600"/>
              </a:spcAft>
            </a:pPr>
            <a:endParaRPr lang="en-US" baseline="0" dirty="0">
              <a:gradFill>
                <a:gsLst>
                  <a:gs pos="2917">
                    <a:schemeClr val="tx1"/>
                  </a:gs>
                  <a:gs pos="30000">
                    <a:schemeClr val="tx1"/>
                  </a:gs>
                </a:gsLst>
                <a:lin ang="5400000" scaled="0"/>
              </a:gradFill>
            </a:endParaRPr>
          </a:p>
          <a:p>
            <a:pPr>
              <a:lnSpc>
                <a:spcPct val="90000"/>
              </a:lnSpc>
              <a:spcAft>
                <a:spcPts val="600"/>
              </a:spcAft>
            </a:pPr>
            <a:r>
              <a:rPr lang="en-US" dirty="0">
                <a:gradFill>
                  <a:gsLst>
                    <a:gs pos="2917">
                      <a:schemeClr val="tx1"/>
                    </a:gs>
                    <a:gs pos="30000">
                      <a:schemeClr val="tx1"/>
                    </a:gs>
                  </a:gsLst>
                  <a:lin ang="5400000" scaled="0"/>
                </a:gradFill>
              </a:rPr>
              <a:t>Because</a:t>
            </a:r>
            <a:r>
              <a:rPr lang="en-US" baseline="0" dirty="0">
                <a:gradFill>
                  <a:gsLst>
                    <a:gs pos="2917">
                      <a:schemeClr val="tx1"/>
                    </a:gs>
                    <a:gs pos="30000">
                      <a:schemeClr val="tx1"/>
                    </a:gs>
                  </a:gsLst>
                  <a:lin ang="5400000" scaled="0"/>
                </a:gradFill>
              </a:rPr>
              <a:t> a trail doesn’t exist (and given that the currency is completely stored digitally) hackers will target bitcoin holders for theft purposes.  If hackers are able to steal bitcoins successfully, it will be nearly impossible to recapture the currency given the lack of a financial trail.</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dirty="0">
                <a:gradFill>
                  <a:gsLst>
                    <a:gs pos="2917">
                      <a:schemeClr val="tx1"/>
                    </a:gs>
                    <a:gs pos="30000">
                      <a:schemeClr val="tx1"/>
                    </a:gs>
                  </a:gsLst>
                  <a:lin ang="5400000" scaled="0"/>
                </a:gradFill>
              </a:rPr>
              <a:t>As an unregulated currency, mining/trading sites as well as virtual currency platforms do not have standardized security measures. People have mined unauthorized bitcoins and hacked bitcoin users. </a:t>
            </a:r>
          </a:p>
          <a:p>
            <a:pPr>
              <a:lnSpc>
                <a:spcPct val="90000"/>
              </a:lnSpc>
              <a:spcAft>
                <a:spcPts val="600"/>
              </a:spcAft>
            </a:pPr>
            <a:r>
              <a:rPr lang="en-US" dirty="0">
                <a:gradFill>
                  <a:gsLst>
                    <a:gs pos="2917">
                      <a:schemeClr val="tx1"/>
                    </a:gs>
                    <a:gs pos="30000">
                      <a:schemeClr val="tx1"/>
                    </a:gs>
                  </a:gsLst>
                  <a:lin ang="5400000" scaled="0"/>
                </a:gradFill>
              </a:rPr>
              <a:t>Malware exists specifically to target bitcoin holders, stealing the currency</a:t>
            </a:r>
          </a:p>
          <a:p>
            <a:endParaRPr lang="en-US" dirty="0"/>
          </a:p>
          <a:p>
            <a:r>
              <a:rPr lang="en-US" dirty="0"/>
              <a:t>Example bitcoin sites</a:t>
            </a:r>
          </a:p>
          <a:p>
            <a:pPr marL="342900" indent="-342900">
              <a:spcAft>
                <a:spcPts val="600"/>
              </a:spcAft>
              <a:buFont typeface="Wingdings" panose="05000000000000000000" pitchFamily="2" charset="2"/>
              <a:buChar char="§"/>
            </a:pPr>
            <a:r>
              <a:rPr lang="en-US" sz="1000" b="1" dirty="0">
                <a:solidFill>
                  <a:srgbClr val="222222"/>
                </a:solidFill>
              </a:rPr>
              <a:t>Bit-miner.com:</a:t>
            </a:r>
            <a:r>
              <a:rPr lang="en-US" sz="1000" dirty="0">
                <a:solidFill>
                  <a:srgbClr val="222222"/>
                </a:solidFill>
              </a:rPr>
              <a:t> Bitcoin mining site</a:t>
            </a:r>
          </a:p>
          <a:p>
            <a:pPr marL="342900" indent="-342900">
              <a:spcAft>
                <a:spcPts val="600"/>
              </a:spcAft>
              <a:buFont typeface="Wingdings" panose="05000000000000000000" pitchFamily="2" charset="2"/>
              <a:buChar char="§"/>
            </a:pPr>
            <a:r>
              <a:rPr lang="en-US" sz="1000" b="1" dirty="0">
                <a:solidFill>
                  <a:srgbClr val="222222"/>
                </a:solidFill>
              </a:rPr>
              <a:t>Bitcoin.org:</a:t>
            </a:r>
            <a:r>
              <a:rPr lang="en-US" sz="1000" dirty="0">
                <a:solidFill>
                  <a:srgbClr val="222222"/>
                </a:solidFill>
              </a:rPr>
              <a:t> Bitcoin’s main website</a:t>
            </a:r>
          </a:p>
          <a:p>
            <a:pPr marL="342900" indent="-342900">
              <a:spcAft>
                <a:spcPts val="600"/>
              </a:spcAft>
              <a:buFont typeface="Wingdings" panose="05000000000000000000" pitchFamily="2" charset="2"/>
              <a:buChar char="§"/>
            </a:pPr>
            <a:r>
              <a:rPr lang="en-US" sz="1000" b="1" dirty="0">
                <a:solidFill>
                  <a:srgbClr val="222222"/>
                </a:solidFill>
              </a:rPr>
              <a:t>Mining.bitcoin.cz:</a:t>
            </a:r>
            <a:r>
              <a:rPr lang="en-US" sz="1000" dirty="0">
                <a:solidFill>
                  <a:srgbClr val="222222"/>
                </a:solidFill>
              </a:rPr>
              <a:t> Bitcoin mining site</a:t>
            </a:r>
          </a:p>
          <a:p>
            <a:pPr marL="342900" indent="-342900">
              <a:spcAft>
                <a:spcPts val="600"/>
              </a:spcAft>
              <a:buFont typeface="Wingdings" panose="05000000000000000000" pitchFamily="2" charset="2"/>
              <a:buChar char="§"/>
            </a:pPr>
            <a:r>
              <a:rPr lang="en-US" sz="1000" b="1" dirty="0">
                <a:solidFill>
                  <a:srgbClr val="222222"/>
                </a:solidFill>
              </a:rPr>
              <a:t>Bitcoin-trade.biz:</a:t>
            </a:r>
            <a:r>
              <a:rPr lang="en-US" sz="1000" dirty="0">
                <a:solidFill>
                  <a:srgbClr val="222222"/>
                </a:solidFill>
              </a:rPr>
              <a:t> Bitcoin trading site</a:t>
            </a:r>
          </a:p>
          <a:p>
            <a:pPr marL="342900" indent="-342900">
              <a:spcAft>
                <a:spcPts val="600"/>
              </a:spcAft>
              <a:buFont typeface="Wingdings" panose="05000000000000000000" pitchFamily="2" charset="2"/>
              <a:buChar char="§"/>
            </a:pPr>
            <a:r>
              <a:rPr lang="en-US" sz="1000" b="1" dirty="0">
                <a:solidFill>
                  <a:srgbClr val="222222"/>
                </a:solidFill>
              </a:rPr>
              <a:t>Payoneer.com:</a:t>
            </a:r>
            <a:r>
              <a:rPr lang="en-US" sz="1000" dirty="0">
                <a:solidFill>
                  <a:srgbClr val="222222"/>
                </a:solidFill>
              </a:rPr>
              <a:t> Payment platform called </a:t>
            </a:r>
            <a:r>
              <a:rPr lang="en-US" sz="1000" dirty="0" err="1">
                <a:solidFill>
                  <a:srgbClr val="222222"/>
                </a:solidFill>
              </a:rPr>
              <a:t>Payoneer</a:t>
            </a:r>
            <a:endParaRPr lang="en-US" sz="1000" dirty="0">
              <a:solidFill>
                <a:srgbClr val="222222"/>
              </a:solidFill>
            </a:endParaRPr>
          </a:p>
          <a:p>
            <a:pPr marL="342900" indent="-342900">
              <a:spcAft>
                <a:spcPts val="600"/>
              </a:spcAft>
              <a:buFont typeface="Wingdings" panose="05000000000000000000" pitchFamily="2" charset="2"/>
              <a:buChar char="§"/>
            </a:pPr>
            <a:r>
              <a:rPr lang="en-US" sz="1000" b="1" dirty="0">
                <a:solidFill>
                  <a:srgbClr val="222222"/>
                </a:solidFill>
              </a:rPr>
              <a:t>Perfectmoney.com:</a:t>
            </a:r>
            <a:r>
              <a:rPr lang="en-US" sz="1000" dirty="0">
                <a:solidFill>
                  <a:srgbClr val="222222"/>
                </a:solidFill>
              </a:rPr>
              <a:t> Virtual currency called Perfect Money (PM)</a:t>
            </a:r>
          </a:p>
          <a:p>
            <a:pPr marL="342900" indent="-342900">
              <a:spcAft>
                <a:spcPts val="600"/>
              </a:spcAft>
              <a:buFont typeface="Wingdings" panose="05000000000000000000" pitchFamily="2" charset="2"/>
              <a:buChar char="§"/>
            </a:pPr>
            <a:r>
              <a:rPr lang="en-US" sz="1000" b="1" dirty="0">
                <a:solidFill>
                  <a:srgbClr val="222222"/>
                </a:solidFill>
              </a:rPr>
              <a:t>Qiwi.ru:</a:t>
            </a:r>
            <a:r>
              <a:rPr lang="en-US" sz="1000" dirty="0">
                <a:solidFill>
                  <a:srgbClr val="222222"/>
                </a:solidFill>
              </a:rPr>
              <a:t> Virtual currency called QIWI</a:t>
            </a:r>
          </a:p>
          <a:p>
            <a:pPr marL="342900" indent="-342900">
              <a:spcAft>
                <a:spcPts val="600"/>
              </a:spcAft>
              <a:buFont typeface="Wingdings" panose="05000000000000000000" pitchFamily="2" charset="2"/>
              <a:buChar char="§"/>
            </a:pPr>
            <a:r>
              <a:rPr lang="en-US" sz="1000" b="1" dirty="0">
                <a:solidFill>
                  <a:srgbClr val="222222"/>
                </a:solidFill>
              </a:rPr>
              <a:t>Webmoney.ru:</a:t>
            </a:r>
            <a:r>
              <a:rPr lang="en-US" sz="1000" dirty="0">
                <a:solidFill>
                  <a:srgbClr val="222222"/>
                </a:solidFill>
              </a:rPr>
              <a:t> </a:t>
            </a:r>
            <a:r>
              <a:rPr lang="en-US" sz="1000" dirty="0" err="1">
                <a:solidFill>
                  <a:srgbClr val="222222"/>
                </a:solidFill>
              </a:rPr>
              <a:t>WebMoney</a:t>
            </a:r>
            <a:r>
              <a:rPr lang="en-US" sz="1000" dirty="0">
                <a:solidFill>
                  <a:srgbClr val="222222"/>
                </a:solidFill>
              </a:rPr>
              <a:t> (WM), a virtual currency</a:t>
            </a:r>
          </a:p>
          <a:p>
            <a:pPr marL="342900" indent="-342900">
              <a:spcAft>
                <a:spcPts val="600"/>
              </a:spcAft>
              <a:buFont typeface="Wingdings" panose="05000000000000000000" pitchFamily="2" charset="2"/>
              <a:buChar char="§"/>
            </a:pPr>
            <a:r>
              <a:rPr lang="en-US" sz="1000" b="1" dirty="0">
                <a:solidFill>
                  <a:srgbClr val="222222"/>
                </a:solidFill>
              </a:rPr>
              <a:t>Money.yandex.ru:</a:t>
            </a:r>
            <a:r>
              <a:rPr lang="en-US" sz="1000" dirty="0">
                <a:solidFill>
                  <a:srgbClr val="222222"/>
                </a:solidFill>
              </a:rPr>
              <a:t> </a:t>
            </a:r>
            <a:r>
              <a:rPr lang="en-US" sz="1000" dirty="0" err="1">
                <a:solidFill>
                  <a:srgbClr val="222222"/>
                </a:solidFill>
              </a:rPr>
              <a:t>Yandex</a:t>
            </a:r>
            <a:r>
              <a:rPr lang="en-US" sz="1000" dirty="0">
                <a:solidFill>
                  <a:srgbClr val="222222"/>
                </a:solidFill>
              </a:rPr>
              <a:t> Money, a virtual currency</a:t>
            </a:r>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17</a:t>
            </a:fld>
            <a:endParaRPr lang="en-US"/>
          </a:p>
        </p:txBody>
      </p:sp>
    </p:spTree>
    <p:extLst>
      <p:ext uri="{BB962C8B-B14F-4D97-AF65-F5344CB8AC3E}">
        <p14:creationId xmlns:p14="http://schemas.microsoft.com/office/powerpoint/2010/main" val="11400209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t>
            </a:r>
            <a:r>
              <a:rPr lang="en-US" dirty="0" err="1"/>
              <a:t>blackhat</a:t>
            </a:r>
            <a:r>
              <a:rPr lang="en-US" dirty="0"/>
              <a:t> conference is the go-to conference for the cyber security specialists. It attracts the corporate and federal IT security types, but there are attendees that will also attend DEFCON. This, ironically, is the true hacker convention. Whereas </a:t>
            </a:r>
            <a:r>
              <a:rPr lang="en-US" dirty="0" err="1"/>
              <a:t>blackhat</a:t>
            </a:r>
            <a:r>
              <a:rPr lang="en-US" dirty="0"/>
              <a:t> seminars will be serious and attended by company-sponsored employees (along with some of the actual </a:t>
            </a:r>
            <a:r>
              <a:rPr lang="en-US" dirty="0" err="1"/>
              <a:t>blackhat</a:t>
            </a:r>
            <a:r>
              <a:rPr lang="en-US" dirty="0"/>
              <a:t> community of hackers), the DEFCON conference is a cash-only event that is much more low key and radical. It’s cash-only to preserve the anonymity of the participants (who also don’t wear name tags with their actual names on them…..!).</a:t>
            </a:r>
          </a:p>
          <a:p>
            <a:endParaRPr lang="en-US" dirty="0"/>
          </a:p>
          <a:p>
            <a:r>
              <a:rPr lang="en-US" dirty="0"/>
              <a:t>Interesting fact: both conferences were founded by the same man, Jeff “Dark Tangent” Moss! Jeff has been involved in cyber security as a corporate white hat for most of his career and is still a security consultant in the field today.</a:t>
            </a:r>
          </a:p>
        </p:txBody>
      </p:sp>
      <p:sp>
        <p:nvSpPr>
          <p:cNvPr id="4" name="Slide Number Placeholder 3"/>
          <p:cNvSpPr>
            <a:spLocks noGrp="1"/>
          </p:cNvSpPr>
          <p:nvPr>
            <p:ph type="sldNum" sz="quarter" idx="10"/>
          </p:nvPr>
        </p:nvSpPr>
        <p:spPr/>
        <p:txBody>
          <a:bodyPr/>
          <a:lstStyle/>
          <a:p>
            <a:fld id="{B2B8AD64-0AA2-4D71-8B13-28C950C46D2A}" type="slidenum">
              <a:rPr lang="en-US" smtClean="0"/>
              <a:t>18</a:t>
            </a:fld>
            <a:endParaRPr lang="en-US"/>
          </a:p>
        </p:txBody>
      </p:sp>
    </p:spTree>
    <p:extLst>
      <p:ext uri="{BB962C8B-B14F-4D97-AF65-F5344CB8AC3E}">
        <p14:creationId xmlns:p14="http://schemas.microsoft.com/office/powerpoint/2010/main" val="26156226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evolution of hackers started with the old telephone system, mimicking a specific high pitched tone to access a long distance switching system. </a:t>
            </a:r>
          </a:p>
          <a:p>
            <a:r>
              <a:rPr lang="en-US" dirty="0"/>
              <a:t>The attacks moved to individual desktop devices connecting to each other via phone lines, hackers tried to randomly “break in” to other systems and devices. </a:t>
            </a:r>
          </a:p>
          <a:p>
            <a:r>
              <a:rPr lang="en-US" dirty="0"/>
              <a:t>From there, malicious code could be created and stored on external media, such as a floppy disk, and then loaded onto an unsuspecting desktop.</a:t>
            </a:r>
          </a:p>
          <a:p>
            <a:endParaRPr lang="en-US" dirty="0"/>
          </a:p>
          <a:p>
            <a:r>
              <a:rPr lang="en-US" dirty="0"/>
              <a:t>Key Point:  Many of today’s hacks wouldn’t be possible without having moved to a System</a:t>
            </a:r>
            <a:r>
              <a:rPr lang="en-US" baseline="0" dirty="0"/>
              <a:t> of Systems ecosystem.</a:t>
            </a:r>
            <a:endParaRPr lang="en-US" dirty="0"/>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20</a:t>
            </a:fld>
            <a:endParaRPr lang="en-US"/>
          </a:p>
        </p:txBody>
      </p:sp>
    </p:spTree>
    <p:extLst>
      <p:ext uri="{BB962C8B-B14F-4D97-AF65-F5344CB8AC3E}">
        <p14:creationId xmlns:p14="http://schemas.microsoft.com/office/powerpoint/2010/main" val="36778518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llets in blue will</a:t>
            </a:r>
            <a:r>
              <a:rPr lang="en-US" baseline="0" dirty="0"/>
              <a:t> be discussed on the following slides</a:t>
            </a:r>
            <a:endParaRPr lang="en-US" dirty="0"/>
          </a:p>
          <a:p>
            <a:endParaRPr lang="en-US" dirty="0"/>
          </a:p>
          <a:p>
            <a:pPr marL="171450" indent="-171450">
              <a:buFont typeface="Wingdings" panose="05000000000000000000" pitchFamily="2" charset="2"/>
              <a:buChar char="§"/>
            </a:pPr>
            <a:r>
              <a:rPr lang="en-US" b="1" dirty="0"/>
              <a:t>Fuzzing</a:t>
            </a:r>
            <a:r>
              <a:rPr lang="en-US" b="1" baseline="0" dirty="0"/>
              <a:t> </a:t>
            </a:r>
            <a:r>
              <a:rPr lang="en-US" baseline="0" dirty="0"/>
              <a:t>– Fuzz testing is used to test a system for unexpected behaviors by passing random messages to an input in either a mutation or generation based method. The same approach can be applied to hack a system. </a:t>
            </a:r>
          </a:p>
          <a:p>
            <a:pPr marL="171450" indent="-171450">
              <a:buFont typeface="Wingdings" panose="05000000000000000000" pitchFamily="2" charset="2"/>
              <a:buChar char="§"/>
            </a:pPr>
            <a:r>
              <a:rPr lang="en-US" b="1" baseline="0" dirty="0"/>
              <a:t>Buffer Overflow </a:t>
            </a:r>
            <a:r>
              <a:rPr lang="en-US" baseline="0" dirty="0"/>
              <a:t>-  a buffer overflow, or buffer overrun, is an anomaly where a program, while writing data to a buffer, overruns the buffer's boundary and overwrites adjacent memory locations. This is a special case of the violation of memory safety.</a:t>
            </a:r>
          </a:p>
          <a:p>
            <a:pPr marL="171450" indent="-171450">
              <a:buFont typeface="Wingdings" panose="05000000000000000000" pitchFamily="2" charset="2"/>
              <a:buChar char="§"/>
            </a:pPr>
            <a:r>
              <a:rPr lang="en-US" b="1" baseline="0" dirty="0"/>
              <a:t>Password Cracking </a:t>
            </a:r>
            <a:r>
              <a:rPr lang="en-US" baseline="0" dirty="0"/>
              <a:t>– attacks either on the password or the hash of a password. Often brute force is used with optimizations based on letter or word frequency in a given language used. Many optimizations are possible such as weaknesses is salted hashes. </a:t>
            </a:r>
          </a:p>
          <a:p>
            <a:pPr marL="171450" indent="-171450">
              <a:buFont typeface="Wingdings" panose="05000000000000000000" pitchFamily="2" charset="2"/>
              <a:buChar char="§"/>
            </a:pPr>
            <a:r>
              <a:rPr lang="en-US" b="1" dirty="0">
                <a:gradFill>
                  <a:gsLst>
                    <a:gs pos="2917">
                      <a:schemeClr val="tx1"/>
                    </a:gs>
                    <a:gs pos="30000">
                      <a:schemeClr val="tx1"/>
                    </a:gs>
                  </a:gsLst>
                  <a:lin ang="5400000" scaled="0"/>
                </a:gradFill>
              </a:rPr>
              <a:t>Cross-site Scripting (XSS) </a:t>
            </a:r>
            <a:r>
              <a:rPr lang="en-US" dirty="0">
                <a:gradFill>
                  <a:gsLst>
                    <a:gs pos="2917">
                      <a:schemeClr val="tx1"/>
                    </a:gs>
                    <a:gs pos="30000">
                      <a:schemeClr val="tx1"/>
                    </a:gs>
                  </a:gsLst>
                  <a:lin ang="5400000" scaled="0"/>
                </a:gradFill>
              </a:rPr>
              <a:t>– </a:t>
            </a:r>
            <a:r>
              <a:rPr lang="en-US" dirty="0"/>
              <a:t>These attacks are a type of injection, in which malicious scripts (usually JavaScript) are injected into otherwise benign and trusted web sites. XSS attacks occur when an attacker uses a web application to send malicious code, generally in the form of a browser side script, to a different end user. Flaws that allow these attacks to succeed are quite widespread and occur anywhere a web application uses input from a user within the output it generates without validating or encoding it. </a:t>
            </a:r>
          </a:p>
          <a:p>
            <a:pPr marL="628650" lvl="1" indent="-171450">
              <a:buFont typeface="Wingdings" panose="05000000000000000000" pitchFamily="2" charset="2"/>
              <a:buChar char="§"/>
            </a:pPr>
            <a:r>
              <a:rPr lang="en-US" dirty="0"/>
              <a:t>An attacker can use XSS to send a malicious script to an unsuspecting user. The end user’s browser has no way to know that the script should not be trusted, and will execute the script. Because it thinks the script came from a trusted source, the malicious script can access any cookies, session tokens, or other sensitive information retained by the browser and used with that site. </a:t>
            </a:r>
          </a:p>
          <a:p>
            <a:pPr marL="171450" indent="-171450">
              <a:buFont typeface="Wingdings" panose="05000000000000000000" pitchFamily="2" charset="2"/>
              <a:buChar char="§"/>
            </a:pPr>
            <a:r>
              <a:rPr lang="en-US" b="1" baseline="0" dirty="0"/>
              <a:t>Tailgating </a:t>
            </a:r>
            <a:r>
              <a:rPr lang="en-US" baseline="0" dirty="0"/>
              <a:t>-  following people into a secure building by taking advantage of “holding the door open” behaviors. </a:t>
            </a:r>
          </a:p>
          <a:p>
            <a:pPr marL="171450" indent="-171450">
              <a:buFont typeface="Wingdings" panose="05000000000000000000" pitchFamily="2" charset="2"/>
              <a:buChar char="§"/>
            </a:pPr>
            <a:r>
              <a:rPr lang="en-US" b="1" baseline="0" dirty="0"/>
              <a:t>Phishing</a:t>
            </a:r>
            <a:r>
              <a:rPr lang="en-US" baseline="0" dirty="0"/>
              <a:t> – Sending emails appearing to be from trusted sources. </a:t>
            </a:r>
          </a:p>
          <a:p>
            <a:pPr marL="171450" indent="-171450">
              <a:buFont typeface="Wingdings" panose="05000000000000000000" pitchFamily="2" charset="2"/>
              <a:buChar char="§"/>
            </a:pPr>
            <a:r>
              <a:rPr lang="en-US" b="1" baseline="0" dirty="0"/>
              <a:t>Middleman attack </a:t>
            </a:r>
            <a:r>
              <a:rPr lang="en-US" baseline="0" dirty="0"/>
              <a:t>– an attack that reads messages or alters messages. </a:t>
            </a:r>
          </a:p>
          <a:p>
            <a:pPr marL="171450" indent="-171450">
              <a:buFont typeface="Wingdings" panose="05000000000000000000" pitchFamily="2" charset="2"/>
              <a:buChar char="§"/>
            </a:pPr>
            <a:r>
              <a:rPr lang="en-US" b="1" baseline="0" dirty="0"/>
              <a:t>Radio Frequency (RF) </a:t>
            </a:r>
            <a:r>
              <a:rPr lang="en-US" baseline="0" dirty="0"/>
              <a:t>– these attacks focus on weaknesses in wireless devices such as keyboards or card readers. </a:t>
            </a:r>
          </a:p>
          <a:p>
            <a:pPr marL="171450" indent="-171450">
              <a:buFont typeface="Wingdings" panose="05000000000000000000" pitchFamily="2" charset="2"/>
              <a:buChar char="§"/>
            </a:pPr>
            <a:r>
              <a:rPr lang="en-US" b="1" baseline="0" dirty="0"/>
              <a:t>Denial-of-Service-</a:t>
            </a:r>
            <a:r>
              <a:rPr lang="en-US" baseline="0" dirty="0"/>
              <a:t> flood a network or system with so many messages that the system or network is essentially down. </a:t>
            </a:r>
          </a:p>
          <a:p>
            <a:pPr marL="171450" indent="-171450">
              <a:buFont typeface="Wingdings" panose="05000000000000000000" pitchFamily="2" charset="2"/>
              <a:buChar char="§"/>
            </a:pPr>
            <a:r>
              <a:rPr lang="en-US" b="1" baseline="0" dirty="0"/>
              <a:t>Physical Modification </a:t>
            </a:r>
            <a:r>
              <a:rPr lang="en-US" baseline="0" dirty="0"/>
              <a:t>– the practice of inserting modified malicious hardware or replacing hardware with malicious hardware. </a:t>
            </a:r>
          </a:p>
          <a:p>
            <a:pPr marL="171450" indent="-171450">
              <a:buFont typeface="Wingdings" panose="05000000000000000000" pitchFamily="2" charset="2"/>
              <a:buChar char="§"/>
            </a:pPr>
            <a:r>
              <a:rPr lang="en-US" b="1" baseline="0" dirty="0" err="1"/>
              <a:t>Glitching</a:t>
            </a:r>
            <a:r>
              <a:rPr lang="en-US" b="1" baseline="0" dirty="0"/>
              <a:t> </a:t>
            </a:r>
            <a:r>
              <a:rPr lang="en-US" baseline="0" dirty="0"/>
              <a:t>- </a:t>
            </a:r>
            <a:r>
              <a:rPr lang="en-US" dirty="0"/>
              <a:t>Digital hardware devices almost always rely on a clock or master signal. By carefully</a:t>
            </a:r>
            <a:r>
              <a:rPr lang="en-US" baseline="0" dirty="0"/>
              <a:t> monitoring the signals from an integrated circuit we can sometimes find ways to get the system into an unexpected state. </a:t>
            </a:r>
          </a:p>
          <a:p>
            <a:pPr marL="171450" indent="-171450">
              <a:buFont typeface="Wingdings" panose="05000000000000000000" pitchFamily="2" charset="2"/>
              <a:buChar char="§"/>
            </a:pPr>
            <a:r>
              <a:rPr lang="en-US" sz="1200" b="1" kern="1200" dirty="0">
                <a:solidFill>
                  <a:schemeClr val="tx1"/>
                </a:solidFill>
                <a:effectLst/>
                <a:latin typeface="+mn-lt"/>
                <a:ea typeface="+mn-ea"/>
                <a:cs typeface="+mn-cs"/>
              </a:rPr>
              <a:t>JTAG/Debugging Port </a:t>
            </a:r>
            <a:r>
              <a:rPr lang="en-US" sz="1200" kern="1200" dirty="0">
                <a:solidFill>
                  <a:schemeClr val="tx1"/>
                </a:solidFill>
                <a:effectLst/>
                <a:latin typeface="+mn-lt"/>
                <a:ea typeface="+mn-ea"/>
                <a:cs typeface="+mn-cs"/>
              </a:rPr>
              <a:t>- JTAG is the “Joint Test Action Group” standard for circuit level debugging. The JTAG allows programmers and attackers</a:t>
            </a:r>
            <a:r>
              <a:rPr lang="en-US" sz="1200" kern="1200" baseline="0" dirty="0">
                <a:solidFill>
                  <a:schemeClr val="tx1"/>
                </a:solidFill>
                <a:effectLst/>
                <a:latin typeface="+mn-lt"/>
                <a:ea typeface="+mn-ea"/>
                <a:cs typeface="+mn-cs"/>
              </a:rPr>
              <a:t> to alter the memory of the device, manipulate individual pins, and change the state of the device. </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21</a:t>
            </a:fld>
            <a:endParaRPr lang="en-US"/>
          </a:p>
        </p:txBody>
      </p:sp>
    </p:spTree>
    <p:extLst>
      <p:ext uri="{BB962C8B-B14F-4D97-AF65-F5344CB8AC3E}">
        <p14:creationId xmlns:p14="http://schemas.microsoft.com/office/powerpoint/2010/main" val="37845567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o has seen &lt;INSERT APPROPRIATE LOCALIZED EXAMPLE HERE &amp; movie poster in slide&gt; Ocean’s Eleven?</a:t>
            </a:r>
          </a:p>
          <a:p>
            <a:r>
              <a:rPr lang="en-US" dirty="0"/>
              <a:t>For those that haven’t: it was a remake of a 1960 film of the same name, and starred George Clooney. Brad Pitt, Matt Damon and Julia Roberts (just to name a few of the cast).</a:t>
            </a:r>
          </a:p>
          <a:p>
            <a:endParaRPr lang="en-US" dirty="0"/>
          </a:p>
          <a:p>
            <a:r>
              <a:rPr lang="en-US" dirty="0"/>
              <a:t>The heist depicted in the film involved: a violated parole, a simultaneous theft of 3 casinos, revenge, a love triangle, an EMP machine, a circus acrobat, a faked heart attack and a duplicate vault. In the end, the heist is pulled off and they escape with $75M USD, and the bad guy loses the girl to the good guy (who serves 3-6 months in prison for breaking his parole).</a:t>
            </a:r>
          </a:p>
          <a:p>
            <a:endParaRPr lang="en-US" dirty="0"/>
          </a:p>
          <a:p>
            <a:r>
              <a:rPr lang="en-US" dirty="0"/>
              <a:t>Crime is depicted by Hollywood to be one thing, when we know that it really is a very different type of process. There can be far less drama, and a much more drawn out timeline, before a theft is successfully completed. It can be a silent event that no one knows is happening until it’s too late.</a:t>
            </a:r>
          </a:p>
          <a:p>
            <a:endParaRPr lang="en-US" dirty="0"/>
          </a:p>
          <a:p>
            <a:r>
              <a:rPr lang="en-US" dirty="0"/>
              <a:t>Today I want to talk to you about Cybersecurity. Merriam-Webster’s dictionary definition is “measures taken to protect a computer or computer system (as on the Internet) against unauthorized access or attack.” But I like to think of it as a puzzle to be solved. What if I told you that it’s possible for me to have a very small piece of hardware up here and trick your cellphone into thinking that it’s connecting to the local Starbucks free </a:t>
            </a:r>
            <a:r>
              <a:rPr lang="en-US" dirty="0" err="1"/>
              <a:t>wi-fi</a:t>
            </a:r>
            <a:r>
              <a:rPr lang="en-US" dirty="0"/>
              <a:t>? Right here. Right now.</a:t>
            </a:r>
          </a:p>
          <a:p>
            <a:r>
              <a:rPr lang="en-US" dirty="0"/>
              <a:t>So  you sit tight, while I have my hacker friends scan their targets: your laptops, smartphones and tablets for any personal information.</a:t>
            </a:r>
          </a:p>
          <a:p>
            <a:endParaRPr lang="en-US" dirty="0"/>
          </a:p>
          <a:p>
            <a:r>
              <a:rPr lang="en-US" dirty="0"/>
              <a:t>&lt;PAUSE&gt;</a:t>
            </a:r>
          </a:p>
          <a:p>
            <a:r>
              <a:rPr lang="en-US" dirty="0"/>
              <a:t>I DON’T have anything with me other than my laptop. But, if I did – would you even have realized it in the past few minutes? Did you realize that you were a target. Is there any way to make your technology less detectable, maybe even invisible? We need help. A lot of help in this area. The prevention of a hack is a problem to be solved that has wide repercussions and innumerable benefits.</a:t>
            </a:r>
          </a:p>
          <a:p>
            <a:endParaRPr lang="en-US" dirty="0"/>
          </a:p>
          <a:p>
            <a:pPr>
              <a:defRPr/>
            </a:pPr>
            <a:r>
              <a:rPr lang="en-US" dirty="0"/>
              <a:t>You can be the one to create an invisible target through a career in cybersecurity. Can you solve the puzzle?</a:t>
            </a:r>
            <a:endParaRPr lang="en-US" dirty="0">
              <a:gradFill>
                <a:gsLst>
                  <a:gs pos="2917">
                    <a:schemeClr val="tx1"/>
                  </a:gs>
                  <a:gs pos="30000">
                    <a:schemeClr val="tx1"/>
                  </a:gs>
                </a:gsLst>
                <a:lin ang="5400000" scaled="0"/>
              </a:gradFill>
            </a:endParaRP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3</a:t>
            </a:fld>
            <a:endParaRPr lang="en-US"/>
          </a:p>
        </p:txBody>
      </p:sp>
    </p:spTree>
    <p:extLst>
      <p:ext uri="{BB962C8B-B14F-4D97-AF65-F5344CB8AC3E}">
        <p14:creationId xmlns:p14="http://schemas.microsoft.com/office/powerpoint/2010/main" val="1720451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What:</a:t>
            </a:r>
            <a:r>
              <a:rPr lang="en-US" dirty="0"/>
              <a:t> Phishing: the hacker is attempting to trick the target into releasing specific information by sending an email that closely resembles a legitimate organization. Ex: Fake emails from a bank that you used to bank with, saying that you have funds remaining in an account and they need your social security number or other identifying information via a clickable link to transfer these funds to you. </a:t>
            </a:r>
          </a:p>
          <a:p>
            <a:endParaRPr lang="en-US" dirty="0"/>
          </a:p>
          <a:p>
            <a:r>
              <a:rPr lang="en-US" u="sng" dirty="0" err="1"/>
              <a:t>Spearphishing</a:t>
            </a:r>
            <a:r>
              <a:rPr lang="en-US" dirty="0"/>
              <a:t>: When open source intelligence (OSINT– think about the public facts about you on social media – name, interests, location, </a:t>
            </a:r>
            <a:r>
              <a:rPr lang="en-US" dirty="0" err="1"/>
              <a:t>etc</a:t>
            </a:r>
            <a:r>
              <a:rPr lang="en-US" dirty="0"/>
              <a:t> ) is used to gather facts about you and those facts are used to create specific content that would increase your trust in the email you’ve received. For example: By looking at your public PB, LinkedIn and Pinterest profiles, we can glean that you are a Manchester United fan. And so sending you a contest entry for a VIP access to a behind the scenes Manchester United experience might entice you to click on the link for entry. </a:t>
            </a:r>
          </a:p>
          <a:p>
            <a:endParaRPr lang="en-US" dirty="0"/>
          </a:p>
          <a:p>
            <a:r>
              <a:rPr lang="en-US" u="sng" dirty="0"/>
              <a:t>Why</a:t>
            </a:r>
            <a:r>
              <a:rPr lang="en-US" dirty="0"/>
              <a:t>: It’s a fairly easy and unsophisticated attack: Replicate an old communication and add/create the identifying counterfeit logo, identify the target email addresses, create an email, add a link and landing page to grab the personal information, and an email from a proxy server. </a:t>
            </a:r>
          </a:p>
          <a:p>
            <a:endParaRPr lang="en-US" dirty="0"/>
          </a:p>
          <a:p>
            <a:r>
              <a:rPr lang="en-US" u="sng" dirty="0"/>
              <a:t>How</a:t>
            </a:r>
            <a:r>
              <a:rPr lang="en-US" dirty="0"/>
              <a:t>: How do you know</a:t>
            </a:r>
            <a:r>
              <a:rPr lang="en-US" baseline="0" dirty="0"/>
              <a:t> if it’s real? Look at the URL of the link to see where you’ll be redirected. Is it HTTP or HTTPS? Is the link verified? And who is it verified for? When a browser is shipped, it’s shipped with root SSL certificates (ex Verisign or E-trust). Is the certificate on your email from a trustworthy source? Would you know if it is?</a:t>
            </a:r>
          </a:p>
          <a:p>
            <a:endParaRPr lang="en-US" dirty="0"/>
          </a:p>
          <a:p>
            <a:r>
              <a:rPr lang="en-US" u="sng" dirty="0"/>
              <a:t>Examples</a:t>
            </a:r>
            <a:r>
              <a:rPr lang="en-US" dirty="0"/>
              <a:t>: </a:t>
            </a:r>
          </a:p>
          <a:p>
            <a:pPr marL="171450" indent="-171450">
              <a:buFont typeface="Arial" panose="020B0604020202020204" pitchFamily="34" charset="0"/>
              <a:buChar char="•"/>
            </a:pPr>
            <a:r>
              <a:rPr lang="en-US" dirty="0"/>
              <a:t>eBay: because there have been so many attempts to phish through counterfeit eBay emails, they now have a page devoted to recognizing spoof websites and emails. </a:t>
            </a:r>
          </a:p>
          <a:p>
            <a:pPr marL="171450" indent="-171450">
              <a:buFont typeface="Arial" panose="020B0604020202020204" pitchFamily="34" charset="0"/>
              <a:buChar char="•"/>
            </a:pPr>
            <a:r>
              <a:rPr lang="en-US" dirty="0"/>
              <a:t>In April 2013, an In April, an AP journalist clicked on a </a:t>
            </a:r>
            <a:r>
              <a:rPr lang="en-US" dirty="0">
                <a:hlinkClick r:id="rId3"/>
              </a:rPr>
              <a:t>spear phishing email disguised as a Twitter email</a:t>
            </a:r>
            <a:r>
              <a:rPr lang="en-US" dirty="0"/>
              <a:t>. The phisher then hacked AP’s Twitter account. Stock markets plunged after a phony tweet about an explosion at the White House, erasing $136.5 billion of value from the S&amp;P 500 index</a:t>
            </a:r>
          </a:p>
          <a:p>
            <a:pPr marL="171450" indent="-171450">
              <a:buFont typeface="Arial" panose="020B0604020202020204" pitchFamily="34" charset="0"/>
              <a:buChar char="•"/>
            </a:pPr>
            <a:endParaRPr lang="en-US"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u="sng" dirty="0"/>
              <a:t>The Puzzle: </a:t>
            </a:r>
            <a:r>
              <a:rPr lang="en-US" baseline="0" dirty="0"/>
              <a:t>We’ve talked about SSL certs, but what if someone steals a root cert? Now we have infrastructure based on x509 chain trust, so this stolen cert looks alright. The puzzle then becomes -</a:t>
            </a:r>
            <a:r>
              <a:rPr lang="en-US" baseline="0" dirty="0" err="1"/>
              <a:t>hHow</a:t>
            </a:r>
            <a:r>
              <a:rPr lang="en-US" baseline="0" dirty="0"/>
              <a:t> do you check to see if a root cert is stolen?</a:t>
            </a:r>
            <a:endParaRPr lang="en-US" dirty="0"/>
          </a:p>
          <a:p>
            <a:pPr>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22</a:t>
            </a:fld>
            <a:endParaRPr lang="en-US"/>
          </a:p>
        </p:txBody>
      </p:sp>
    </p:spTree>
    <p:extLst>
      <p:ext uri="{BB962C8B-B14F-4D97-AF65-F5344CB8AC3E}">
        <p14:creationId xmlns:p14="http://schemas.microsoft.com/office/powerpoint/2010/main" val="28632113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171450" indent="-171450">
              <a:buFont typeface="Arial" panose="020B0604020202020204" pitchFamily="34" charset="0"/>
              <a:buChar char="•"/>
            </a:pPr>
            <a:r>
              <a:rPr lang="en-US" dirty="0"/>
              <a:t>Phishing Scam that resulted in over $1B USD stolen from various financial institutions from over 100 banks and involving over 30 nations. One of the largest bank thefts ever! The transactions, limited to $10 million per transfer were conducted over a period of at almost 2 years.</a:t>
            </a:r>
          </a:p>
          <a:p>
            <a:pPr marL="171450" indent="-171450">
              <a:buFont typeface="Arial" panose="020B0604020202020204" pitchFamily="34" charset="0"/>
              <a:buChar char="•"/>
            </a:pPr>
            <a:r>
              <a:rPr lang="en-US" dirty="0"/>
              <a:t>The thieves spear phished (targeted)  employees to install malware (called </a:t>
            </a:r>
            <a:r>
              <a:rPr lang="en-US" dirty="0" err="1"/>
              <a:t>Carbanak</a:t>
            </a:r>
            <a:r>
              <a:rPr lang="en-US" dirty="0"/>
              <a:t>) into the bank’s administrative systems. Once installed, it tracked bank employees’ movements allowing the hackers to learn, via video feeds and images, to learn daily routines and procedures. This enabled them, after months of observation, to mimic the activities of senior banking officials to transfer millions of dollars into dummy accounts in different countries as well as turn on cash (ATM) machines to dispense cash at specific times to be collected by members of the hacking gang.</a:t>
            </a:r>
          </a:p>
          <a:p>
            <a:pPr marL="171450" indent="-171450">
              <a:buFont typeface="Arial" panose="020B0604020202020204" pitchFamily="34" charset="0"/>
              <a:buChar char="•"/>
            </a:pPr>
            <a:r>
              <a:rPr lang="en-US" dirty="0"/>
              <a:t>Technologies involved:</a:t>
            </a:r>
          </a:p>
          <a:p>
            <a:pPr marL="628650" lvl="1" indent="-171450">
              <a:buFont typeface="Arial" panose="020B0604020202020204" pitchFamily="34" charset="0"/>
              <a:buChar char="•"/>
            </a:pPr>
            <a:r>
              <a:rPr lang="en-US" dirty="0"/>
              <a:t>Spear Phishing – bought access to the computers via Dark Web vendors. Once the employee opened the email, a Trojan as installed (variants of </a:t>
            </a:r>
            <a:r>
              <a:rPr lang="en-US" dirty="0" err="1"/>
              <a:t>Anunak</a:t>
            </a:r>
            <a:r>
              <a:rPr lang="en-US" dirty="0"/>
              <a:t>, </a:t>
            </a:r>
            <a:r>
              <a:rPr lang="en-US" dirty="0" err="1"/>
              <a:t>Quadars</a:t>
            </a:r>
            <a:r>
              <a:rPr lang="en-US" dirty="0"/>
              <a:t> and some </a:t>
            </a:r>
            <a:r>
              <a:rPr lang="en-US" dirty="0" err="1"/>
              <a:t>Carberp</a:t>
            </a:r>
            <a:r>
              <a:rPr lang="en-US" dirty="0"/>
              <a:t> hybrids, plus new ) that included </a:t>
            </a:r>
            <a:r>
              <a:rPr lang="en-US" dirty="0" err="1"/>
              <a:t>keyloggers</a:t>
            </a:r>
            <a:r>
              <a:rPr lang="en-US" dirty="0"/>
              <a:t>, data-stealing malware that led to privilege escalation and lateral movement into internal systems.</a:t>
            </a:r>
          </a:p>
          <a:p>
            <a:pPr marL="628650" lvl="1" indent="-171450">
              <a:buFont typeface="Arial" panose="020B0604020202020204" pitchFamily="34" charset="0"/>
              <a:buChar char="•"/>
            </a:pPr>
            <a:r>
              <a:rPr lang="en-US" dirty="0"/>
              <a:t>RAT – Remote Access Tool to collect video and screenshots</a:t>
            </a:r>
          </a:p>
          <a:p>
            <a:pPr marL="628650" lvl="1" indent="-171450">
              <a:buFont typeface="Arial" panose="020B0604020202020204" pitchFamily="34" charset="0"/>
              <a:buChar char="•"/>
            </a:pPr>
            <a:r>
              <a:rPr lang="en-US" dirty="0"/>
              <a:t>Infected computers attached to ATMs so the machines dispensed cash at the same time the gang’s mules were there to pick it up;</a:t>
            </a:r>
          </a:p>
          <a:p>
            <a:pPr marL="628650" lvl="1" indent="-171450">
              <a:buFont typeface="Arial" panose="020B0604020202020204" pitchFamily="34" charset="0"/>
              <a:buChar char="•"/>
            </a:pPr>
            <a:r>
              <a:rPr lang="en-US" dirty="0"/>
              <a:t>Compromised internal Oracle databases, created fraudulent accounts, issued cards and modified account balances to wire out more money each time;</a:t>
            </a:r>
          </a:p>
          <a:p>
            <a:pPr marL="628650" lvl="1" indent="-171450">
              <a:buFont typeface="Arial" panose="020B0604020202020204" pitchFamily="34" charset="0"/>
              <a:buChar char="•"/>
            </a:pPr>
            <a:r>
              <a:rPr lang="en-US" dirty="0"/>
              <a:t>Abused the Society for Worldwide Interbank Financial Telecommunication system to move large amounts of money into accounts they controlled;</a:t>
            </a:r>
          </a:p>
          <a:p>
            <a:pPr marL="628650" lvl="1" indent="-171450">
              <a:buFont typeface="Arial" panose="020B0604020202020204" pitchFamily="34" charset="0"/>
              <a:buChar char="•"/>
            </a:pPr>
            <a:r>
              <a:rPr lang="en-US" dirty="0"/>
              <a:t>Used the online banking vector for e-pay fraud and fraudulent transactions.</a:t>
            </a:r>
          </a:p>
          <a:p>
            <a:pPr marL="628650" lvl="1" indent="-171450">
              <a:buFont typeface="Arial" panose="020B0604020202020204" pitchFamily="34" charset="0"/>
              <a:buChar char="•"/>
            </a:pPr>
            <a:endParaRPr lang="en-US" dirty="0"/>
          </a:p>
          <a:p>
            <a:pPr marL="628650" lvl="1" indent="-171450">
              <a:buFont typeface="Arial" panose="020B0604020202020204" pitchFamily="34" charset="0"/>
              <a:buChar char="•"/>
            </a:pPr>
            <a:endParaRPr lang="en-US" dirty="0"/>
          </a:p>
          <a:p>
            <a:r>
              <a:rPr lang="en-US" dirty="0"/>
              <a:t> </a:t>
            </a:r>
          </a:p>
        </p:txBody>
      </p:sp>
      <p:sp>
        <p:nvSpPr>
          <p:cNvPr id="4" name="Slide Number Placeholder 3"/>
          <p:cNvSpPr>
            <a:spLocks noGrp="1"/>
          </p:cNvSpPr>
          <p:nvPr>
            <p:ph type="sldNum" sz="quarter" idx="10"/>
          </p:nvPr>
        </p:nvSpPr>
        <p:spPr/>
        <p:txBody>
          <a:bodyPr/>
          <a:lstStyle/>
          <a:p>
            <a:fld id="{B2B8AD64-0AA2-4D71-8B13-28C950C46D2A}" type="slidenum">
              <a:rPr lang="en-US" smtClean="0"/>
              <a:t>23</a:t>
            </a:fld>
            <a:endParaRPr lang="en-US"/>
          </a:p>
        </p:txBody>
      </p:sp>
    </p:spTree>
    <p:extLst>
      <p:ext uri="{BB962C8B-B14F-4D97-AF65-F5344CB8AC3E}">
        <p14:creationId xmlns:p14="http://schemas.microsoft.com/office/powerpoint/2010/main" val="6153564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none" dirty="0"/>
              <a:t>The Internet of Things: the interconnection</a:t>
            </a:r>
            <a:r>
              <a:rPr lang="en-US" u="none" baseline="0" dirty="0"/>
              <a:t> of our lives and our stuff. Appliances, security systems, cars, fitness trackers – these are all tied into the web. We are obsessed with the monitoring of our stuff! Hackers know this: and they are starting to disrupt the flow of accurate information.</a:t>
            </a:r>
          </a:p>
          <a:p>
            <a:br>
              <a:rPr lang="en-US" u="none" baseline="0" dirty="0"/>
            </a:br>
            <a:r>
              <a:rPr lang="en-US" u="none" baseline="0" dirty="0"/>
              <a:t>There have been stories of attempted hacks into aircraft in flight.</a:t>
            </a:r>
            <a:endParaRPr lang="en-US" u="none" dirty="0"/>
          </a:p>
        </p:txBody>
      </p:sp>
      <p:sp>
        <p:nvSpPr>
          <p:cNvPr id="4" name="Slide Number Placeholder 3"/>
          <p:cNvSpPr>
            <a:spLocks noGrp="1"/>
          </p:cNvSpPr>
          <p:nvPr>
            <p:ph type="sldNum" sz="quarter" idx="10"/>
          </p:nvPr>
        </p:nvSpPr>
        <p:spPr/>
        <p:txBody>
          <a:bodyPr/>
          <a:lstStyle/>
          <a:p>
            <a:fld id="{B2B8AD64-0AA2-4D71-8B13-28C950C46D2A}" type="slidenum">
              <a:rPr lang="en-US" smtClean="0"/>
              <a:t>24</a:t>
            </a:fld>
            <a:endParaRPr lang="en-US"/>
          </a:p>
        </p:txBody>
      </p:sp>
    </p:spTree>
    <p:extLst>
      <p:ext uri="{BB962C8B-B14F-4D97-AF65-F5344CB8AC3E}">
        <p14:creationId xmlns:p14="http://schemas.microsoft.com/office/powerpoint/2010/main" val="7034053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What</a:t>
            </a:r>
            <a:r>
              <a:rPr lang="en-US" dirty="0"/>
              <a:t>:</a:t>
            </a:r>
          </a:p>
          <a:p>
            <a:r>
              <a:rPr lang="en-US" dirty="0"/>
              <a:t>Hackers are able to get into </a:t>
            </a:r>
            <a:r>
              <a:rPr lang="en-US" dirty="0" err="1"/>
              <a:t>IoT</a:t>
            </a:r>
            <a:r>
              <a:rPr lang="en-US" dirty="0"/>
              <a:t> devices via multiple entryways. They can remotely control your car, your refrigerator, the lighting in your home… maybe unlock your front door?</a:t>
            </a:r>
          </a:p>
          <a:p>
            <a:endParaRPr lang="en-US" dirty="0"/>
          </a:p>
          <a:p>
            <a:r>
              <a:rPr lang="en-US" u="sng" dirty="0"/>
              <a:t>Why</a:t>
            </a:r>
            <a:r>
              <a:rPr lang="en-US" dirty="0"/>
              <a:t>: Theft, manipulation, just because they can? Hackers do what they do for a variety of reasons, sometimes to prove that they can take control. “In a recent survey conducted by the </a:t>
            </a:r>
            <a:r>
              <a:rPr lang="en-US" dirty="0">
                <a:hlinkClick r:id="rId3"/>
              </a:rPr>
              <a:t>FOW Community</a:t>
            </a:r>
            <a:r>
              <a:rPr lang="en-US" dirty="0"/>
              <a:t>, leading IT companies predicted that </a:t>
            </a:r>
            <a:r>
              <a:rPr lang="en-US" dirty="0">
                <a:hlinkClick r:id="rId4"/>
              </a:rPr>
              <a:t>between 26 and 212 </a:t>
            </a:r>
            <a:r>
              <a:rPr lang="en-US" i="1" dirty="0">
                <a:hlinkClick r:id="rId4"/>
              </a:rPr>
              <a:t>billion</a:t>
            </a:r>
            <a:r>
              <a:rPr lang="en-US" dirty="0">
                <a:hlinkClick r:id="rId4"/>
              </a:rPr>
              <a:t> devices will be connected to the web by 2020</a:t>
            </a:r>
            <a:r>
              <a:rPr lang="en-US" dirty="0"/>
              <a:t>. That means devices will outnumber the human population by at least a factor of three.” – David </a:t>
            </a:r>
            <a:r>
              <a:rPr lang="en-US" dirty="0" err="1"/>
              <a:t>Bisson</a:t>
            </a:r>
            <a:r>
              <a:rPr lang="en-US" dirty="0"/>
              <a:t>, 11/3/14, Tripwire.com.  Webcams, automobiles, refrigerators, printers and medical devices have already proven that they can be hacked.</a:t>
            </a:r>
          </a:p>
          <a:p>
            <a:endParaRPr lang="en-US" dirty="0"/>
          </a:p>
          <a:p>
            <a:endParaRPr lang="en-US" dirty="0"/>
          </a:p>
          <a:p>
            <a:r>
              <a:rPr lang="en-US" u="sng" dirty="0"/>
              <a:t>Examples</a:t>
            </a:r>
            <a:r>
              <a:rPr lang="en-US" dirty="0"/>
              <a:t>:</a:t>
            </a:r>
          </a:p>
          <a:p>
            <a:pPr marL="171450" indent="-171450">
              <a:buFont typeface="Arial" panose="020B0604020202020204" pitchFamily="34" charset="0"/>
              <a:buChar char="•"/>
            </a:pPr>
            <a:r>
              <a:rPr lang="en-US" dirty="0"/>
              <a:t>Target</a:t>
            </a:r>
            <a:r>
              <a:rPr lang="en-US" baseline="0" dirty="0"/>
              <a:t> - </a:t>
            </a:r>
            <a:r>
              <a:rPr lang="en-US" dirty="0"/>
              <a:t> their HVAC vendor tied the system into their corporate network so that the</a:t>
            </a:r>
            <a:r>
              <a:rPr lang="en-US" baseline="0" dirty="0"/>
              <a:t> system could be monitored. Then hackers stole a password from their HVAC (third party) vendor, and navigated their way into Target’s customer financial records and STOLE CUSTOMER CREDIT CARD information! The initial hack was into the HVAC system – and since the environmental controls was linked to the corporate network, instead of on an isolated network, it became relatively easily to cross navigate cross system and help themselves to the credit card data.</a:t>
            </a:r>
            <a:endParaRPr lang="en-US" dirty="0"/>
          </a:p>
          <a:p>
            <a:pPr marL="171450" indent="-171450">
              <a:buFont typeface="Arial" panose="020B0604020202020204" pitchFamily="34" charset="0"/>
              <a:buChar char="•"/>
            </a:pPr>
            <a:r>
              <a:rPr lang="en-US" dirty="0"/>
              <a:t>2014 – remote hacking of a 2014 Jeep Cherokee: Two security researchers demonstrated that they could hack into a 2014 Jeep Cherokee to disable it’s transmission and brakes. The result: Fiat Chrysler issued a 1.4 million vehicle recall to patch the software AND block the any attack on the Sprint (US Cellular Carrier) network that was used to connect it’s vehicles.</a:t>
            </a:r>
          </a:p>
          <a:p>
            <a:pPr marL="171450" indent="-171450">
              <a:buFont typeface="Arial" panose="020B0604020202020204" pitchFamily="34" charset="0"/>
              <a:buChar char="•"/>
            </a:pPr>
            <a:r>
              <a:rPr lang="en-US" dirty="0"/>
              <a:t>Tesla’s Model S was also used as an example of where a hacker could use a laptop to start, and drive off with, the car. In another example a remote-access Trojan virus was installed and could remotely shut the engine down while driving.</a:t>
            </a:r>
          </a:p>
          <a:p>
            <a:pPr marL="171450" indent="-171450">
              <a:buFont typeface="Arial" panose="020B0604020202020204" pitchFamily="34" charset="0"/>
              <a:buChar char="•"/>
            </a:pPr>
            <a:r>
              <a:rPr lang="en-US" dirty="0"/>
              <a:t>Printers: a Canon </a:t>
            </a:r>
            <a:r>
              <a:rPr lang="en-US" dirty="0" err="1"/>
              <a:t>Pixma</a:t>
            </a:r>
            <a:r>
              <a:rPr lang="en-US" dirty="0"/>
              <a:t> Printer was hacked and it’s web proxy settings and DNS server. Not a big deal until you think about someone stealing your personal documents as you send them to the printer! What is the value of a printer in your day to day use? What do you print that you wouldn’t want someone to get their hands on? What about your printer at work or school?</a:t>
            </a:r>
          </a:p>
          <a:p>
            <a:pPr marL="171450" indent="-171450">
              <a:buFont typeface="Arial" panose="020B0604020202020204" pitchFamily="34" charset="0"/>
              <a:buChar char="•"/>
            </a:pPr>
            <a:r>
              <a:rPr lang="en-US" dirty="0"/>
              <a:t>Back in 2007, Dick Cheney, then Vice President of the United States, needed a pacemaker installed due to his heart health. He had the wireless connection disabled out of fear that a terrorist organization could hack in and harm him by speeding up or slowing down his heart rate.</a:t>
            </a:r>
          </a:p>
          <a:p>
            <a:endParaRPr lang="en-US" dirty="0"/>
          </a:p>
          <a:p>
            <a:r>
              <a:rPr lang="en-US" u="sng" dirty="0"/>
              <a:t>The Puzzle: </a:t>
            </a:r>
            <a:r>
              <a:rPr lang="en-US" dirty="0"/>
              <a:t>Find a way to isolate an </a:t>
            </a:r>
            <a:r>
              <a:rPr lang="en-US" dirty="0" err="1"/>
              <a:t>IoT</a:t>
            </a:r>
            <a:r>
              <a:rPr lang="en-US" dirty="0"/>
              <a:t> device or authenticate access to prevent unauthorized disruption .</a:t>
            </a:r>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25</a:t>
            </a:fld>
            <a:endParaRPr lang="en-US"/>
          </a:p>
        </p:txBody>
      </p:sp>
    </p:spTree>
    <p:extLst>
      <p:ext uri="{BB962C8B-B14F-4D97-AF65-F5344CB8AC3E}">
        <p14:creationId xmlns:p14="http://schemas.microsoft.com/office/powerpoint/2010/main" val="14811390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features</a:t>
            </a:r>
            <a:r>
              <a:rPr lang="en-US" baseline="0" dirty="0"/>
              <a:t> of Azure</a:t>
            </a:r>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27</a:t>
            </a:fld>
            <a:endParaRPr lang="en-US"/>
          </a:p>
        </p:txBody>
      </p:sp>
    </p:spTree>
    <p:extLst>
      <p:ext uri="{BB962C8B-B14F-4D97-AF65-F5344CB8AC3E}">
        <p14:creationId xmlns:p14="http://schemas.microsoft.com/office/powerpoint/2010/main" val="29265571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bility for hackers to “eavesdrop” in on your internet activity is another easy way to be vulnerable.</a:t>
            </a:r>
            <a:r>
              <a:rPr lang="en-US" baseline="0" dirty="0"/>
              <a:t> You’re sitting in a coffee shop</a:t>
            </a:r>
            <a:r>
              <a:rPr lang="en-US" dirty="0"/>
              <a:t> </a:t>
            </a:r>
            <a:r>
              <a:rPr lang="en-US" baseline="0" dirty="0"/>
              <a:t>, or at the airport, and need to transfer money between two of your bank accounts or pay a bill. Should you?</a:t>
            </a:r>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28</a:t>
            </a:fld>
            <a:endParaRPr lang="en-US"/>
          </a:p>
        </p:txBody>
      </p:sp>
    </p:spTree>
    <p:extLst>
      <p:ext uri="{BB962C8B-B14F-4D97-AF65-F5344CB8AC3E}">
        <p14:creationId xmlns:p14="http://schemas.microsoft.com/office/powerpoint/2010/main" val="29874678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e USB that records everything you type </a:t>
            </a:r>
            <a:r>
              <a:rPr lang="en-US" dirty="0">
                <a:hlinkClick r:id="rId3"/>
              </a:rPr>
              <a:t>http://thehackernews.com/2016/05/usb-charger-keylogger.html</a:t>
            </a:r>
            <a:endParaRPr lang="en-US" dirty="0"/>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29</a:t>
            </a:fld>
            <a:endParaRPr lang="en-US"/>
          </a:p>
        </p:txBody>
      </p:sp>
    </p:spTree>
    <p:extLst>
      <p:ext uri="{BB962C8B-B14F-4D97-AF65-F5344CB8AC3E}">
        <p14:creationId xmlns:p14="http://schemas.microsoft.com/office/powerpoint/2010/main" val="273387733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SQL Injection is a very easy to perform attack. If an application (web form or any app) does not check the input fields of a form then this attack is possible. For instance, if a form was created for the above table to update a students name like this:</a:t>
            </a:r>
            <a:endParaRPr lang="en-US" u="sng" baseline="0" dirty="0"/>
          </a:p>
          <a:p>
            <a:r>
              <a:rPr lang="en-US" u="sng" baseline="0" dirty="0"/>
              <a:t>	</a:t>
            </a:r>
            <a:r>
              <a:rPr lang="en-US" dirty="0"/>
              <a:t>SQL = “Update Student”</a:t>
            </a:r>
            <a:endParaRPr lang="en-US" u="sng" baseline="0" dirty="0"/>
          </a:p>
          <a:p>
            <a:r>
              <a:rPr lang="en-US" u="sng" baseline="0" dirty="0"/>
              <a:t>	</a:t>
            </a:r>
            <a:r>
              <a:rPr lang="en-US" dirty="0"/>
              <a:t>SQL + SQL = “SET </a:t>
            </a:r>
            <a:r>
              <a:rPr lang="en-US" dirty="0" err="1"/>
              <a:t>first_name</a:t>
            </a:r>
            <a:r>
              <a:rPr lang="en-US" dirty="0"/>
              <a:t> = “ + ISNULL(</a:t>
            </a:r>
            <a:r>
              <a:rPr lang="en-US" dirty="0" err="1"/>
              <a:t>txtFirst_Name</a:t>
            </a:r>
            <a:r>
              <a:rPr lang="en-US" dirty="0"/>
              <a:t>, ‘’) ,”</a:t>
            </a:r>
            <a:endParaRPr lang="en-US" u="sng"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u="sng" baseline="0" dirty="0"/>
              <a:t>	</a:t>
            </a:r>
            <a:r>
              <a:rPr lang="en-US" dirty="0"/>
              <a:t>SQL + SQL = “</a:t>
            </a:r>
            <a:r>
              <a:rPr lang="en-US" dirty="0" err="1"/>
              <a:t>last_name</a:t>
            </a:r>
            <a:r>
              <a:rPr lang="en-US" dirty="0"/>
              <a:t> = “ + ISNULL(</a:t>
            </a:r>
            <a:r>
              <a:rPr lang="en-US" dirty="0" err="1"/>
              <a:t>txtLast_Name</a:t>
            </a:r>
            <a:r>
              <a:rPr lang="en-US" dirty="0"/>
              <a:t>, ‘’);”</a:t>
            </a:r>
            <a:endParaRPr lang="en-US" u="sng" baseline="0" dirty="0"/>
          </a:p>
          <a:p>
            <a:r>
              <a:rPr lang="en-US" dirty="0"/>
              <a:t>Here is the value of SQL in a typical usage:</a:t>
            </a:r>
            <a:endParaRPr lang="en-US" u="sng" baseline="0" dirty="0"/>
          </a:p>
          <a:p>
            <a:r>
              <a:rPr lang="en-US" u="sng" baseline="0" dirty="0"/>
              <a:t>	</a:t>
            </a:r>
            <a:r>
              <a:rPr lang="en-US" dirty="0"/>
              <a:t>SQL = “Update Student SET </a:t>
            </a:r>
            <a:r>
              <a:rPr lang="en-US" dirty="0" err="1"/>
              <a:t>first_name</a:t>
            </a:r>
            <a:r>
              <a:rPr lang="en-US" dirty="0"/>
              <a:t> = ‘Sally’, </a:t>
            </a:r>
            <a:r>
              <a:rPr lang="en-US" dirty="0" err="1"/>
              <a:t>last_name</a:t>
            </a:r>
            <a:r>
              <a:rPr lang="en-US" dirty="0"/>
              <a:t> = ‘Jones’;</a:t>
            </a:r>
            <a:endParaRPr lang="en-US" u="sng" baseline="0" dirty="0"/>
          </a:p>
          <a:p>
            <a:r>
              <a:rPr lang="en-US" dirty="0"/>
              <a:t>The form, if written incorrectly will execute the string in the SQL variable directly against the database. </a:t>
            </a:r>
            <a:endParaRPr lang="en-US" u="sng" baseline="0" dirty="0"/>
          </a:p>
          <a:p>
            <a:endParaRPr lang="en-US" u="sng" baseline="0" dirty="0"/>
          </a:p>
          <a:p>
            <a:r>
              <a:rPr lang="en-US" dirty="0"/>
              <a:t>Puzzle: </a:t>
            </a:r>
            <a:endParaRPr lang="en-US" u="sng" baseline="0" dirty="0"/>
          </a:p>
          <a:p>
            <a:r>
              <a:rPr lang="en-US" dirty="0"/>
              <a:t>If I told you that “DROP TABLE </a:t>
            </a:r>
            <a:r>
              <a:rPr lang="en-US" dirty="0" err="1"/>
              <a:t>table_name</a:t>
            </a:r>
            <a:r>
              <a:rPr lang="en-US" dirty="0"/>
              <a:t>;” is a valid SQL command which upon execution will drop the table in the ‘</a:t>
            </a:r>
            <a:r>
              <a:rPr lang="en-US" dirty="0" err="1"/>
              <a:t>table_name</a:t>
            </a:r>
            <a:r>
              <a:rPr lang="en-US" dirty="0"/>
              <a:t>’ position. </a:t>
            </a:r>
            <a:endParaRPr lang="en-US" u="sng" baseline="0" dirty="0"/>
          </a:p>
          <a:p>
            <a:endParaRPr lang="en-US" u="sng" baseline="0" dirty="0"/>
          </a:p>
          <a:p>
            <a:r>
              <a:rPr lang="en-US" dirty="0"/>
              <a:t>Can you think of how such a form could be exploited? </a:t>
            </a:r>
            <a:endParaRPr lang="en-US" u="sng" dirty="0"/>
          </a:p>
          <a:p>
            <a:endParaRPr lang="en-US" u="sng" dirty="0"/>
          </a:p>
          <a:p>
            <a:r>
              <a:rPr lang="en-US" dirty="0" err="1"/>
              <a:t>Ans</a:t>
            </a:r>
            <a:r>
              <a:rPr lang="en-US" dirty="0"/>
              <a:t>:</a:t>
            </a:r>
            <a:r>
              <a:rPr lang="en-US" baseline="0" dirty="0"/>
              <a:t> All the user/hacker would have to do is type into the </a:t>
            </a:r>
            <a:r>
              <a:rPr lang="en-US" baseline="0" dirty="0" err="1"/>
              <a:t>first_name</a:t>
            </a:r>
            <a:r>
              <a:rPr lang="en-US" baseline="0" dirty="0"/>
              <a:t> field is: </a:t>
            </a:r>
          </a:p>
          <a:p>
            <a:r>
              <a:rPr lang="en-US" baseline="0" dirty="0"/>
              <a:t>	‘); Drop Table Student; --</a:t>
            </a:r>
          </a:p>
          <a:p>
            <a:r>
              <a:rPr lang="en-US" baseline="0" dirty="0"/>
              <a:t>	or </a:t>
            </a:r>
          </a:p>
          <a:p>
            <a:r>
              <a:rPr lang="en-US" baseline="0" dirty="0"/>
              <a:t>	; Drop Table Student; --</a:t>
            </a:r>
          </a:p>
          <a:p>
            <a:r>
              <a:rPr lang="en-US" baseline="0" dirty="0"/>
              <a:t>Explanation: </a:t>
            </a:r>
          </a:p>
          <a:p>
            <a:r>
              <a:rPr lang="en-US" baseline="0" dirty="0"/>
              <a:t>We first need to close the SQL statement that the form is attempting. The way to terminate a command is ; semicolon. We might need to close a server side function looking for the string boundary so we might need ’); to tell the </a:t>
            </a:r>
            <a:r>
              <a:rPr lang="en-US" baseline="0" dirty="0" err="1"/>
              <a:t>getRequestString</a:t>
            </a:r>
            <a:r>
              <a:rPr lang="en-US" baseline="0" dirty="0"/>
              <a:t>() type function. </a:t>
            </a:r>
          </a:p>
          <a:p>
            <a:endParaRPr lang="en-US" baseline="0" dirty="0"/>
          </a:p>
          <a:p>
            <a:r>
              <a:rPr lang="en-US" baseline="0" dirty="0"/>
              <a:t>We then inject the commend. Here we are injecting a command to drop the student table. </a:t>
            </a:r>
          </a:p>
          <a:p>
            <a:endParaRPr lang="en-US" baseline="0" dirty="0"/>
          </a:p>
          <a:p>
            <a:r>
              <a:rPr lang="en-US" baseline="0" dirty="0"/>
              <a:t>Finally, to ensure we pass syntax checks on the SQL query engine, we need to terminate the SQL command we injected and we need to force the query engine to ignore any SQL fragments that will be in the string from the form. So we add ;--. </a:t>
            </a:r>
          </a:p>
          <a:p>
            <a:endParaRPr lang="en-US" baseline="0" dirty="0"/>
          </a:p>
        </p:txBody>
      </p:sp>
      <p:sp>
        <p:nvSpPr>
          <p:cNvPr id="4" name="Slide Number Placeholder 3"/>
          <p:cNvSpPr>
            <a:spLocks noGrp="1"/>
          </p:cNvSpPr>
          <p:nvPr>
            <p:ph type="sldNum" sz="quarter" idx="10"/>
          </p:nvPr>
        </p:nvSpPr>
        <p:spPr/>
        <p:txBody>
          <a:bodyPr/>
          <a:lstStyle/>
          <a:p>
            <a:fld id="{B2B8AD64-0AA2-4D71-8B13-28C950C46D2A}" type="slidenum">
              <a:rPr lang="en-US" smtClean="0"/>
              <a:t>31</a:t>
            </a:fld>
            <a:endParaRPr lang="en-US"/>
          </a:p>
        </p:txBody>
      </p:sp>
    </p:spTree>
    <p:extLst>
      <p:ext uri="{BB962C8B-B14F-4D97-AF65-F5344CB8AC3E}">
        <p14:creationId xmlns:p14="http://schemas.microsoft.com/office/powerpoint/2010/main" val="29865873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B8AD64-0AA2-4D71-8B13-28C950C46D2A}" type="slidenum">
              <a:rPr lang="en-US" smtClean="0"/>
              <a:t>32</a:t>
            </a:fld>
            <a:endParaRPr lang="en-US"/>
          </a:p>
        </p:txBody>
      </p:sp>
    </p:spTree>
    <p:extLst>
      <p:ext uri="{BB962C8B-B14F-4D97-AF65-F5344CB8AC3E}">
        <p14:creationId xmlns:p14="http://schemas.microsoft.com/office/powerpoint/2010/main" val="900800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2917">
                      <a:schemeClr val="tx1"/>
                    </a:gs>
                    <a:gs pos="30000">
                      <a:schemeClr val="tx1"/>
                    </a:gs>
                  </a:gsLst>
                  <a:lin ang="5400000" scaled="0"/>
                </a:gradFill>
              </a:rPr>
              <a:t>How can we best block a SQL Injection Attack?</a:t>
            </a:r>
          </a:p>
          <a:p>
            <a:endParaRPr lang="en-US" sz="1200" dirty="0">
              <a:gradFill>
                <a:gsLst>
                  <a:gs pos="2917">
                    <a:schemeClr val="tx1"/>
                  </a:gs>
                  <a:gs pos="30000">
                    <a:schemeClr val="tx1"/>
                  </a:gs>
                </a:gsLst>
                <a:lin ang="5400000" scaled="0"/>
              </a:gradFill>
            </a:endParaRPr>
          </a:p>
          <a:p>
            <a:r>
              <a:rPr lang="en-US" sz="1200" dirty="0">
                <a:gradFill>
                  <a:gsLst>
                    <a:gs pos="2917">
                      <a:schemeClr val="tx1"/>
                    </a:gs>
                    <a:gs pos="30000">
                      <a:schemeClr val="tx1"/>
                    </a:gs>
                  </a:gsLst>
                  <a:lin ang="5400000" scaled="0"/>
                </a:gradFill>
              </a:rPr>
              <a:t>It’s easy.  Most modern languages will handle this hack.</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Modern type-safe languages like C# are built on frameworks like </a:t>
            </a:r>
            <a:r>
              <a:rPr lang="en-US" sz="1200" dirty="0" err="1"/>
              <a:t>.Net</a:t>
            </a:r>
            <a:r>
              <a:rPr lang="en-US" sz="1200" dirty="0"/>
              <a:t> which provide database access libraries that wrap database stored procedure calls in functions that block termination or closure of an input.</a:t>
            </a:r>
          </a:p>
          <a:p>
            <a:endParaRPr lang="en-US" dirty="0"/>
          </a:p>
          <a:p>
            <a:r>
              <a:rPr lang="en-US" dirty="0"/>
              <a:t>Safe languages include:</a:t>
            </a:r>
          </a:p>
          <a:p>
            <a:pPr marL="342900" indent="-342900" defTabSz="914367">
              <a:lnSpc>
                <a:spcPct val="90000"/>
              </a:lnSpc>
              <a:spcBef>
                <a:spcPct val="20000"/>
              </a:spcBef>
              <a:buSzPct val="90000"/>
              <a:buFont typeface="Wingdings" panose="05000000000000000000" pitchFamily="2" charset="2"/>
              <a:buChar char="§"/>
            </a:pPr>
            <a:r>
              <a:rPr lang="en-US" sz="1200" kern="1200" dirty="0">
                <a:gradFill>
                  <a:gsLst>
                    <a:gs pos="1250">
                      <a:schemeClr val="tx1"/>
                    </a:gs>
                    <a:gs pos="100000">
                      <a:schemeClr val="tx1"/>
                    </a:gs>
                  </a:gsLst>
                  <a:lin ang="5400000" scaled="0"/>
                </a:gradFill>
                <a:latin typeface="+mn-lt"/>
                <a:ea typeface="+mn-ea"/>
                <a:cs typeface="+mn-cs"/>
              </a:rPr>
              <a:t>Java EE – use </a:t>
            </a:r>
            <a:r>
              <a:rPr lang="en-US" sz="1200" kern="1200" dirty="0" err="1">
                <a:gradFill>
                  <a:gsLst>
                    <a:gs pos="1250">
                      <a:schemeClr val="tx1"/>
                    </a:gs>
                    <a:gs pos="100000">
                      <a:schemeClr val="tx1"/>
                    </a:gs>
                  </a:gsLst>
                  <a:lin ang="5400000" scaled="0"/>
                </a:gradFill>
                <a:latin typeface="+mn-lt"/>
                <a:ea typeface="+mn-ea"/>
                <a:cs typeface="+mn-cs"/>
              </a:rPr>
              <a:t>PreparedStatement</a:t>
            </a:r>
            <a:r>
              <a:rPr lang="en-US" sz="1200" kern="1200" dirty="0">
                <a:gradFill>
                  <a:gsLst>
                    <a:gs pos="1250">
                      <a:schemeClr val="tx1"/>
                    </a:gs>
                    <a:gs pos="100000">
                      <a:schemeClr val="tx1"/>
                    </a:gs>
                  </a:gsLst>
                  <a:lin ang="5400000" scaled="0"/>
                </a:gradFill>
                <a:latin typeface="+mn-lt"/>
                <a:ea typeface="+mn-ea"/>
                <a:cs typeface="+mn-cs"/>
              </a:rPr>
              <a:t>() with bind variables</a:t>
            </a:r>
          </a:p>
          <a:p>
            <a:pPr marL="342900" indent="-342900" defTabSz="914367">
              <a:lnSpc>
                <a:spcPct val="90000"/>
              </a:lnSpc>
              <a:spcBef>
                <a:spcPct val="20000"/>
              </a:spcBef>
              <a:buSzPct val="90000"/>
              <a:buFont typeface="Wingdings" panose="05000000000000000000" pitchFamily="2" charset="2"/>
              <a:buChar char="§"/>
            </a:pPr>
            <a:r>
              <a:rPr lang="en-US" sz="1200" kern="1200" dirty="0">
                <a:gradFill>
                  <a:gsLst>
                    <a:gs pos="1250">
                      <a:schemeClr val="tx1"/>
                    </a:gs>
                    <a:gs pos="100000">
                      <a:schemeClr val="tx1"/>
                    </a:gs>
                  </a:gsLst>
                  <a:lin ang="5400000" scaled="0"/>
                </a:gradFill>
                <a:latin typeface="+mn-lt"/>
                <a:ea typeface="+mn-ea"/>
                <a:cs typeface="+mn-cs"/>
              </a:rPr>
              <a:t>.NET – use parameterized queries like </a:t>
            </a:r>
            <a:r>
              <a:rPr lang="en-US" sz="1200" kern="1200" dirty="0" err="1">
                <a:gradFill>
                  <a:gsLst>
                    <a:gs pos="1250">
                      <a:schemeClr val="tx1"/>
                    </a:gs>
                    <a:gs pos="100000">
                      <a:schemeClr val="tx1"/>
                    </a:gs>
                  </a:gsLst>
                  <a:lin ang="5400000" scaled="0"/>
                </a:gradFill>
                <a:latin typeface="+mn-lt"/>
                <a:ea typeface="+mn-ea"/>
                <a:cs typeface="+mn-cs"/>
              </a:rPr>
              <a:t>SqlCommand</a:t>
            </a:r>
            <a:r>
              <a:rPr lang="en-US" sz="1200" kern="1200" dirty="0">
                <a:gradFill>
                  <a:gsLst>
                    <a:gs pos="1250">
                      <a:schemeClr val="tx1"/>
                    </a:gs>
                    <a:gs pos="100000">
                      <a:schemeClr val="tx1"/>
                    </a:gs>
                  </a:gsLst>
                  <a:lin ang="5400000" scaled="0"/>
                </a:gradFill>
                <a:latin typeface="+mn-lt"/>
                <a:ea typeface="+mn-ea"/>
                <a:cs typeface="+mn-cs"/>
              </a:rPr>
              <a:t>() or </a:t>
            </a:r>
            <a:r>
              <a:rPr lang="en-US" sz="1200" kern="1200" dirty="0" err="1">
                <a:gradFill>
                  <a:gsLst>
                    <a:gs pos="1250">
                      <a:schemeClr val="tx1"/>
                    </a:gs>
                    <a:gs pos="100000">
                      <a:schemeClr val="tx1"/>
                    </a:gs>
                  </a:gsLst>
                  <a:lin ang="5400000" scaled="0"/>
                </a:gradFill>
                <a:latin typeface="+mn-lt"/>
                <a:ea typeface="+mn-ea"/>
                <a:cs typeface="+mn-cs"/>
              </a:rPr>
              <a:t>OleDbCommand</a:t>
            </a:r>
            <a:r>
              <a:rPr lang="en-US" sz="1200" kern="1200" dirty="0">
                <a:gradFill>
                  <a:gsLst>
                    <a:gs pos="1250">
                      <a:schemeClr val="tx1"/>
                    </a:gs>
                    <a:gs pos="100000">
                      <a:schemeClr val="tx1"/>
                    </a:gs>
                  </a:gsLst>
                  <a:lin ang="5400000" scaled="0"/>
                </a:gradFill>
                <a:latin typeface="+mn-lt"/>
                <a:ea typeface="+mn-ea"/>
                <a:cs typeface="+mn-cs"/>
              </a:rPr>
              <a:t>() with bind variables</a:t>
            </a:r>
          </a:p>
          <a:p>
            <a:pPr marL="342900" indent="-342900" defTabSz="914367">
              <a:lnSpc>
                <a:spcPct val="90000"/>
              </a:lnSpc>
              <a:spcBef>
                <a:spcPct val="20000"/>
              </a:spcBef>
              <a:buSzPct val="90000"/>
              <a:buFont typeface="Wingdings" panose="05000000000000000000" pitchFamily="2" charset="2"/>
              <a:buChar char="§"/>
            </a:pPr>
            <a:r>
              <a:rPr lang="en-US" sz="1200" kern="1200" dirty="0">
                <a:gradFill>
                  <a:gsLst>
                    <a:gs pos="1250">
                      <a:schemeClr val="tx1"/>
                    </a:gs>
                    <a:gs pos="100000">
                      <a:schemeClr val="tx1"/>
                    </a:gs>
                  </a:gsLst>
                  <a:lin ang="5400000" scaled="0"/>
                </a:gradFill>
                <a:latin typeface="+mn-lt"/>
                <a:ea typeface="+mn-ea"/>
                <a:cs typeface="+mn-cs"/>
              </a:rPr>
              <a:t>PHP – use PDO with strongly typed parameterized queries (using </a:t>
            </a:r>
            <a:r>
              <a:rPr lang="en-US" sz="1200" kern="1200" dirty="0" err="1">
                <a:gradFill>
                  <a:gsLst>
                    <a:gs pos="1250">
                      <a:schemeClr val="tx1"/>
                    </a:gs>
                    <a:gs pos="100000">
                      <a:schemeClr val="tx1"/>
                    </a:gs>
                  </a:gsLst>
                  <a:lin ang="5400000" scaled="0"/>
                </a:gradFill>
                <a:latin typeface="+mn-lt"/>
                <a:ea typeface="+mn-ea"/>
                <a:cs typeface="+mn-cs"/>
              </a:rPr>
              <a:t>bindParam</a:t>
            </a:r>
            <a:r>
              <a:rPr lang="en-US" sz="1200" kern="1200" dirty="0">
                <a:gradFill>
                  <a:gsLst>
                    <a:gs pos="1250">
                      <a:schemeClr val="tx1"/>
                    </a:gs>
                    <a:gs pos="100000">
                      <a:schemeClr val="tx1"/>
                    </a:gs>
                  </a:gsLst>
                  <a:lin ang="5400000" scaled="0"/>
                </a:gradFill>
                <a:latin typeface="+mn-lt"/>
                <a:ea typeface="+mn-ea"/>
                <a:cs typeface="+mn-cs"/>
              </a:rPr>
              <a:t>())</a:t>
            </a:r>
          </a:p>
          <a:p>
            <a:pPr marL="342900" indent="-342900" defTabSz="914367">
              <a:lnSpc>
                <a:spcPct val="90000"/>
              </a:lnSpc>
              <a:spcBef>
                <a:spcPct val="20000"/>
              </a:spcBef>
              <a:buSzPct val="90000"/>
              <a:buFont typeface="Wingdings" panose="05000000000000000000" pitchFamily="2" charset="2"/>
              <a:buChar char="§"/>
            </a:pPr>
            <a:r>
              <a:rPr lang="en-US" sz="1200" kern="1200" dirty="0">
                <a:gradFill>
                  <a:gsLst>
                    <a:gs pos="1250">
                      <a:schemeClr val="tx1"/>
                    </a:gs>
                    <a:gs pos="100000">
                      <a:schemeClr val="tx1"/>
                    </a:gs>
                  </a:gsLst>
                  <a:lin ang="5400000" scaled="0"/>
                </a:gradFill>
                <a:latin typeface="+mn-lt"/>
                <a:ea typeface="+mn-ea"/>
                <a:cs typeface="+mn-cs"/>
              </a:rPr>
              <a:t>Hibernate - use </a:t>
            </a:r>
            <a:r>
              <a:rPr lang="en-US" sz="1200" kern="1200" dirty="0" err="1">
                <a:gradFill>
                  <a:gsLst>
                    <a:gs pos="1250">
                      <a:schemeClr val="tx1"/>
                    </a:gs>
                    <a:gs pos="100000">
                      <a:schemeClr val="tx1"/>
                    </a:gs>
                  </a:gsLst>
                  <a:lin ang="5400000" scaled="0"/>
                </a:gradFill>
                <a:latin typeface="+mn-lt"/>
                <a:ea typeface="+mn-ea"/>
                <a:cs typeface="+mn-cs"/>
              </a:rPr>
              <a:t>createQuery</a:t>
            </a:r>
            <a:r>
              <a:rPr lang="en-US" sz="1200" kern="1200" dirty="0">
                <a:gradFill>
                  <a:gsLst>
                    <a:gs pos="1250">
                      <a:schemeClr val="tx1"/>
                    </a:gs>
                    <a:gs pos="100000">
                      <a:schemeClr val="tx1"/>
                    </a:gs>
                  </a:gsLst>
                  <a:lin ang="5400000" scaled="0"/>
                </a:gradFill>
                <a:latin typeface="+mn-lt"/>
                <a:ea typeface="+mn-ea"/>
                <a:cs typeface="+mn-cs"/>
              </a:rPr>
              <a:t>() with bind variables (called named parameters in Hibernate)</a:t>
            </a:r>
          </a:p>
          <a:p>
            <a:endParaRPr lang="en-US" dirty="0"/>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33</a:t>
            </a:fld>
            <a:endParaRPr lang="en-US"/>
          </a:p>
        </p:txBody>
      </p:sp>
    </p:spTree>
    <p:extLst>
      <p:ext uri="{BB962C8B-B14F-4D97-AF65-F5344CB8AC3E}">
        <p14:creationId xmlns:p14="http://schemas.microsoft.com/office/powerpoint/2010/main" val="39612960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 few minutes we will discuss a true story about a billion dollar bank heist. There was no dramatic standoff, no one holding up a teller. Just emails being opened by unsuspecting employees, resulting in ATMs dispensing cash on demand and bank account balances being redistributed to other dummy accounts. Over a period of almost two years. Undetected.</a:t>
            </a:r>
            <a:endParaRPr lang="en-US" baseline="0" dirty="0"/>
          </a:p>
          <a:p>
            <a:endParaRPr lang="en-US" sz="1200" b="0" i="0" kern="1200" dirty="0">
              <a:solidFill>
                <a:schemeClr val="tx1"/>
              </a:solidFill>
              <a:effectLst/>
              <a:latin typeface="+mn-lt"/>
              <a:ea typeface="+mn-ea"/>
              <a:cs typeface="+mn-cs"/>
            </a:endParaRPr>
          </a:p>
          <a:p>
            <a:r>
              <a:rPr lang="en-US" dirty="0"/>
              <a:t>Think </a:t>
            </a:r>
            <a:r>
              <a:rPr lang="en-US" sz="1200" b="0" i="0" kern="1200" dirty="0">
                <a:solidFill>
                  <a:schemeClr val="tx1"/>
                </a:solidFill>
                <a:effectLst/>
                <a:latin typeface="+mn-lt"/>
                <a:ea typeface="+mn-ea"/>
                <a:cs typeface="+mn-cs"/>
              </a:rPr>
              <a:t>about that</a:t>
            </a:r>
            <a:r>
              <a:rPr lang="en-US" dirty="0"/>
              <a:t>. </a:t>
            </a:r>
          </a:p>
          <a:p>
            <a:endParaRPr lang="en-US" dirty="0"/>
          </a:p>
          <a:p>
            <a:r>
              <a:rPr lang="en-US" dirty="0"/>
              <a:t>That means, for</a:t>
            </a:r>
            <a:r>
              <a:rPr lang="en-US" sz="1200" b="0" i="0" kern="1200" dirty="0">
                <a:solidFill>
                  <a:schemeClr val="tx1"/>
                </a:solidFill>
                <a:effectLst/>
                <a:latin typeface="+mn-lt"/>
                <a:ea typeface="+mn-ea"/>
                <a:cs typeface="+mn-cs"/>
              </a:rPr>
              <a:t> the </a:t>
            </a:r>
            <a:r>
              <a:rPr lang="en-US" dirty="0"/>
              <a:t>duration </a:t>
            </a:r>
            <a:r>
              <a:rPr lang="en-US" sz="1200" b="0" i="0" kern="1200" dirty="0">
                <a:solidFill>
                  <a:schemeClr val="tx1"/>
                </a:solidFill>
                <a:effectLst/>
                <a:latin typeface="+mn-lt"/>
                <a:ea typeface="+mn-ea"/>
                <a:cs typeface="+mn-cs"/>
              </a:rPr>
              <a:t>of </a:t>
            </a:r>
            <a:r>
              <a:rPr lang="en-US" dirty="0"/>
              <a:t>your freshman and sophomore year here at school. There could have been someone siphoning off a few cents from your bank account here and there. Except it wasn’t a typical </a:t>
            </a:r>
            <a:r>
              <a:rPr lang="en-US" sz="1200" b="0" i="0" kern="1200" dirty="0">
                <a:solidFill>
                  <a:schemeClr val="tx1"/>
                </a:solidFill>
                <a:effectLst/>
                <a:latin typeface="+mn-lt"/>
                <a:ea typeface="+mn-ea"/>
                <a:cs typeface="+mn-cs"/>
              </a:rPr>
              <a:t>bank </a:t>
            </a:r>
            <a:r>
              <a:rPr lang="en-US" dirty="0"/>
              <a:t>account. It was one </a:t>
            </a:r>
            <a:r>
              <a:rPr lang="en-US" sz="1200" b="0" i="0" kern="1200" dirty="0">
                <a:solidFill>
                  <a:schemeClr val="tx1"/>
                </a:solidFill>
                <a:effectLst/>
                <a:latin typeface="+mn-lt"/>
                <a:ea typeface="+mn-ea"/>
                <a:cs typeface="+mn-cs"/>
              </a:rPr>
              <a:t>in </a:t>
            </a:r>
            <a:r>
              <a:rPr lang="en-US" dirty="0"/>
              <a:t>which up to $10k USD at a time was moved from point A to point B. And point B was unrecoverable. It was invisible.</a:t>
            </a:r>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4</a:t>
            </a:fld>
            <a:endParaRPr lang="en-US"/>
          </a:p>
        </p:txBody>
      </p:sp>
    </p:spTree>
    <p:extLst>
      <p:ext uri="{BB962C8B-B14F-4D97-AF65-F5344CB8AC3E}">
        <p14:creationId xmlns:p14="http://schemas.microsoft.com/office/powerpoint/2010/main" val="11747462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ving</a:t>
            </a:r>
            <a:r>
              <a:rPr lang="en-US" baseline="0" dirty="0"/>
              <a:t> your password compromised is likely an experience that many in this room have already encountered, especially if you use the same passwords across multiple websites, like social media sites you belong to as well as banking websites.</a:t>
            </a:r>
          </a:p>
          <a:p>
            <a:endParaRPr lang="en-US" baseline="0" dirty="0"/>
          </a:p>
          <a:p>
            <a:r>
              <a:rPr lang="en-US" baseline="0" dirty="0"/>
              <a:t>Let’s look at how these passwords are cracked and how individuals and companies can prevent it from happening.</a:t>
            </a:r>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34</a:t>
            </a:fld>
            <a:endParaRPr lang="en-US"/>
          </a:p>
        </p:txBody>
      </p:sp>
    </p:spTree>
    <p:extLst>
      <p:ext uri="{BB962C8B-B14F-4D97-AF65-F5344CB8AC3E}">
        <p14:creationId xmlns:p14="http://schemas.microsoft.com/office/powerpoint/2010/main" val="6963928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Modern OSs never store plain-text passwords</a:t>
            </a:r>
          </a:p>
          <a:p>
            <a:pPr marL="171450" indent="-171450">
              <a:buFont typeface="Arial" panose="020B0604020202020204" pitchFamily="34" charset="0"/>
              <a:buChar char="•"/>
            </a:pPr>
            <a:r>
              <a:rPr lang="en-US" dirty="0"/>
              <a:t>Instead they use a hash function which is a one-way encryption to produce a fixed length “ hash”</a:t>
            </a:r>
          </a:p>
          <a:p>
            <a:pPr marL="171450" indent="-171450">
              <a:buFont typeface="Arial" panose="020B0604020202020204" pitchFamily="34" charset="0"/>
              <a:buChar char="•"/>
            </a:pPr>
            <a:r>
              <a:rPr lang="en-US" dirty="0"/>
              <a:t>One-way encryption means the password cannot be derived from the hash</a:t>
            </a:r>
          </a:p>
          <a:p>
            <a:pPr marL="171450" indent="-171450">
              <a:buFont typeface="Arial" panose="020B0604020202020204" pitchFamily="34" charset="0"/>
              <a:buChar char="•"/>
            </a:pPr>
            <a:r>
              <a:rPr lang="en-US" dirty="0"/>
              <a:t>There are many different hash functions: LM, NTLM, md2, md4, md5, md5_hex, md5-half, sha1, sha224, sha256, sha384, sha512, ripeMD160, whirlpool, etc.</a:t>
            </a:r>
          </a:p>
          <a:p>
            <a:endParaRPr lang="en-US"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Hash algorithms create a "fingerprint" that cannot be reversed. They also have the property that if the input changes the resulting hash is completely differen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dirty="0">
              <a:solidFill>
                <a:schemeClr val="bg1"/>
              </a:solidFill>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dirty="0"/>
              <a:t>Question: Do you believe these are hashes are secur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dirty="0">
              <a:solidFill>
                <a:schemeClr val="bg1"/>
              </a:solidFill>
            </a:endParaRPr>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35</a:t>
            </a:fld>
            <a:endParaRPr lang="en-US"/>
          </a:p>
        </p:txBody>
      </p:sp>
    </p:spTree>
    <p:extLst>
      <p:ext uri="{BB962C8B-B14F-4D97-AF65-F5344CB8AC3E}">
        <p14:creationId xmlns:p14="http://schemas.microsoft.com/office/powerpoint/2010/main" val="14606309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Modern OSs never store plain-text passwords</a:t>
            </a:r>
          </a:p>
          <a:p>
            <a:pPr marL="171450" indent="-171450">
              <a:buFont typeface="Arial" panose="020B0604020202020204" pitchFamily="34" charset="0"/>
              <a:buChar char="•"/>
            </a:pPr>
            <a:r>
              <a:rPr lang="en-US" dirty="0"/>
              <a:t>Instead they use a hash function which is a one-way encryption to produce a fixed length “ hash”</a:t>
            </a:r>
          </a:p>
          <a:p>
            <a:pPr marL="171450" indent="-171450">
              <a:buFont typeface="Arial" panose="020B0604020202020204" pitchFamily="34" charset="0"/>
              <a:buChar char="•"/>
            </a:pPr>
            <a:r>
              <a:rPr lang="en-US" dirty="0"/>
              <a:t>One-way encryption means the password cannot be derived from the hash</a:t>
            </a:r>
          </a:p>
          <a:p>
            <a:pPr marL="171450" indent="-171450">
              <a:buFont typeface="Arial" panose="020B0604020202020204" pitchFamily="34" charset="0"/>
              <a:buChar char="•"/>
            </a:pPr>
            <a:r>
              <a:rPr lang="en-US" dirty="0"/>
              <a:t>There are many different hash functions: LM, NTLM, md2, md4, md5, md5_hex, md5-half, sha1, sha224, sha256, sha384, sha512, ripeMD160, whirlpool, etc.</a:t>
            </a:r>
          </a:p>
          <a:p>
            <a:endParaRPr lang="en-US"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Hash algorithms create a "fingerprint" that cannot be reversed. They also have the property that if the input changes the resulting hash is completely differen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dirty="0">
              <a:solidFill>
                <a:schemeClr val="bg1"/>
              </a:solidFill>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dirty="0"/>
              <a:t>Question: Do you believe these are hashes are secur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dirty="0">
              <a:solidFill>
                <a:schemeClr val="bg1"/>
              </a:solidFill>
            </a:endParaRPr>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36</a:t>
            </a:fld>
            <a:endParaRPr lang="en-US"/>
          </a:p>
        </p:txBody>
      </p:sp>
    </p:spTree>
    <p:extLst>
      <p:ext uri="{BB962C8B-B14F-4D97-AF65-F5344CB8AC3E}">
        <p14:creationId xmlns:p14="http://schemas.microsoft.com/office/powerpoint/2010/main" val="83239370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If you had a pre-compiled list of all possible hashes for a given hash function, then you could compare the hashes only. Such a list of passwords and hashes is known as a Rainbow Table. </a:t>
            </a:r>
          </a:p>
          <a:p>
            <a:pPr marL="171450" indent="-171450">
              <a:buFont typeface="Arial" panose="020B0604020202020204" pitchFamily="34" charset="0"/>
              <a:buChar char="•"/>
            </a:pPr>
            <a:r>
              <a:rPr lang="en-US" dirty="0"/>
              <a:t>A brute force attack against a naïve hash using a Rainbow Table can be very effective and fast.</a:t>
            </a:r>
          </a:p>
          <a:p>
            <a:pPr marL="171450" indent="-171450">
              <a:buFont typeface="Arial" panose="020B0604020202020204" pitchFamily="34" charset="0"/>
              <a:buChar char="•"/>
            </a:pPr>
            <a:r>
              <a:rPr lang="en-US" dirty="0"/>
              <a:t>Hackers and researchers take advantage of leaked passwords to optimize their Rainbow Tables based on patterns they see in these leaked password lists.  </a:t>
            </a:r>
          </a:p>
        </p:txBody>
      </p:sp>
      <p:sp>
        <p:nvSpPr>
          <p:cNvPr id="4" name="Slide Number Placeholder 3"/>
          <p:cNvSpPr>
            <a:spLocks noGrp="1"/>
          </p:cNvSpPr>
          <p:nvPr>
            <p:ph type="sldNum" sz="quarter" idx="10"/>
          </p:nvPr>
        </p:nvSpPr>
        <p:spPr/>
        <p:txBody>
          <a:bodyPr/>
          <a:lstStyle/>
          <a:p>
            <a:fld id="{B2B8AD64-0AA2-4D71-8B13-28C950C46D2A}" type="slidenum">
              <a:rPr lang="en-US" smtClean="0"/>
              <a:t>37</a:t>
            </a:fld>
            <a:endParaRPr lang="en-US"/>
          </a:p>
        </p:txBody>
      </p:sp>
    </p:spTree>
    <p:extLst>
      <p:ext uri="{BB962C8B-B14F-4D97-AF65-F5344CB8AC3E}">
        <p14:creationId xmlns:p14="http://schemas.microsoft.com/office/powerpoint/2010/main" val="25782221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salt size of 128 bits</a:t>
            </a:r>
            <a:r>
              <a:rPr lang="en-US" baseline="0" dirty="0"/>
              <a:t> is common on modern OSs. </a:t>
            </a:r>
            <a:endParaRPr lang="en-US" dirty="0"/>
          </a:p>
          <a:p>
            <a:r>
              <a:rPr lang="en-US" dirty="0"/>
              <a:t>Salt is related to the Cryptographic concept of nonc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If the password file is salted, then the rainbow table would have to contain "salt . password" pre-hashed. If the salt is long enough and sufficiently random, this is very unlikely. Unsalted passwords chosen by humans tend to be vulnerable to dictionary attacks since they have to be both short and meaningful enough to be memorized. </a:t>
            </a:r>
          </a:p>
          <a:p>
            <a:endParaRPr lang="en-US" dirty="0"/>
          </a:p>
          <a:p>
            <a:r>
              <a:rPr lang="en-US" dirty="0"/>
              <a:t>Salt is generally generated using </a:t>
            </a:r>
            <a:r>
              <a:rPr lang="en-US" b="1" dirty="0"/>
              <a:t>Cryptographically Secure Pseudo-Random Number Generator</a:t>
            </a:r>
            <a:r>
              <a:rPr lang="en-US" dirty="0"/>
              <a:t> (CSPRNG). </a:t>
            </a:r>
          </a:p>
          <a:p>
            <a:r>
              <a:rPr lang="en-US" dirty="0"/>
              <a:t>Microsoft’s implementation can be found here: </a:t>
            </a:r>
          </a:p>
          <a:p>
            <a:r>
              <a:rPr lang="en-US" dirty="0"/>
              <a:t>	https://en.wikipedia.org/wiki/CryptGenRandom </a:t>
            </a:r>
          </a:p>
          <a:p>
            <a:r>
              <a:rPr lang="en-US" dirty="0" err="1"/>
              <a:t>.Net</a:t>
            </a:r>
            <a:r>
              <a:rPr lang="en-US" dirty="0"/>
              <a:t> </a:t>
            </a:r>
          </a:p>
          <a:p>
            <a:r>
              <a:rPr lang="en-US" dirty="0"/>
              <a:t>	</a:t>
            </a:r>
            <a:r>
              <a:rPr lang="en-US" dirty="0" err="1">
                <a:hlinkClick r:id="rId3"/>
              </a:rPr>
              <a:t>System.Security.Cryptography.RNGCryptoServiceProvider</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38</a:t>
            </a:fld>
            <a:endParaRPr lang="en-US"/>
          </a:p>
        </p:txBody>
      </p:sp>
    </p:spTree>
    <p:extLst>
      <p:ext uri="{BB962C8B-B14F-4D97-AF65-F5344CB8AC3E}">
        <p14:creationId xmlns:p14="http://schemas.microsoft.com/office/powerpoint/2010/main" val="12428556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a:p>
        </p:txBody>
      </p:sp>
      <p:sp>
        <p:nvSpPr>
          <p:cNvPr id="4" name="Slide Number Placeholder 3"/>
          <p:cNvSpPr>
            <a:spLocks noGrp="1"/>
          </p:cNvSpPr>
          <p:nvPr>
            <p:ph type="sldNum" sz="quarter" idx="10"/>
          </p:nvPr>
        </p:nvSpPr>
        <p:spPr/>
        <p:txBody>
          <a:bodyPr/>
          <a:lstStyle/>
          <a:p>
            <a:fld id="{B2B8AD64-0AA2-4D71-8B13-28C950C46D2A}" type="slidenum">
              <a:rPr lang="en-US" smtClean="0"/>
              <a:t>39</a:t>
            </a:fld>
            <a:endParaRPr lang="en-US"/>
          </a:p>
        </p:txBody>
      </p:sp>
    </p:spTree>
    <p:extLst>
      <p:ext uri="{BB962C8B-B14F-4D97-AF65-F5344CB8AC3E}">
        <p14:creationId xmlns:p14="http://schemas.microsoft.com/office/powerpoint/2010/main" val="408666425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gradFill>
                  <a:gsLst>
                    <a:gs pos="1250">
                      <a:schemeClr val="tx1"/>
                    </a:gs>
                    <a:gs pos="100000">
                      <a:schemeClr val="tx1"/>
                    </a:gs>
                  </a:gsLst>
                  <a:lin ang="5400000" scaled="0"/>
                </a:gradFill>
                <a:latin typeface="+mn-lt"/>
                <a:ea typeface="+mn-ea"/>
                <a:cs typeface="+mn-cs"/>
              </a:rPr>
              <a:t>Modern OSs such as Windows in enterprise environment have domain policies. A domain policy allows a central administrator to enforce password polices: minimum password length, UPPER case, numbers, and special characters. They also can force users to change passwords regularly and prevent users from re-cycling old passwords. </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gradFill>
                  <a:gsLst>
                    <a:gs pos="1250">
                      <a:schemeClr val="tx1"/>
                    </a:gs>
                    <a:gs pos="100000">
                      <a:schemeClr val="tx1"/>
                    </a:gs>
                  </a:gsLst>
                  <a:lin ang="5400000" scaled="0"/>
                </a:gradFill>
                <a:latin typeface="+mn-lt"/>
                <a:ea typeface="+mn-ea"/>
                <a:cs typeface="+mn-cs"/>
              </a:rPr>
              <a:t>Modern OSs such as Windows offer disk based encryption. </a:t>
            </a:r>
            <a:r>
              <a:rPr lang="en-US" sz="1200" kern="1200" dirty="0" err="1">
                <a:gradFill>
                  <a:gsLst>
                    <a:gs pos="1250">
                      <a:schemeClr val="tx1"/>
                    </a:gs>
                    <a:gs pos="100000">
                      <a:schemeClr val="tx1"/>
                    </a:gs>
                  </a:gsLst>
                  <a:lin ang="5400000" scaled="0"/>
                </a:gradFill>
                <a:latin typeface="+mn-lt"/>
                <a:ea typeface="+mn-ea"/>
                <a:cs typeface="+mn-cs"/>
              </a:rPr>
              <a:t>Bitlocker’s</a:t>
            </a:r>
            <a:r>
              <a:rPr lang="en-US" sz="1200" kern="1200" dirty="0">
                <a:gradFill>
                  <a:gsLst>
                    <a:gs pos="1250">
                      <a:schemeClr val="tx1"/>
                    </a:gs>
                    <a:gs pos="100000">
                      <a:schemeClr val="tx1"/>
                    </a:gs>
                  </a:gsLst>
                  <a:lin ang="5400000" scaled="0"/>
                </a:gradFill>
                <a:latin typeface="+mn-lt"/>
                <a:ea typeface="+mn-ea"/>
                <a:cs typeface="+mn-cs"/>
              </a:rPr>
              <a:t> full disk encryption helps prevent off-line attacks. </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gradFill>
                  <a:gsLst>
                    <a:gs pos="1250">
                      <a:schemeClr val="tx1"/>
                    </a:gs>
                    <a:gs pos="100000">
                      <a:schemeClr val="tx1"/>
                    </a:gs>
                  </a:gsLst>
                  <a:lin ang="5400000" scaled="0"/>
                </a:gradFill>
                <a:latin typeface="+mn-lt"/>
                <a:ea typeface="+mn-ea"/>
                <a:cs typeface="+mn-cs"/>
              </a:rPr>
              <a:t>Multi-factor Authentication (MFA) is an increasingly important measure as well. MFA requires a password and a code generated by a device such as a smart phone. A hacker would have to have both devices. </a:t>
            </a:r>
          </a:p>
          <a:p>
            <a:endParaRPr lang="en-US" dirty="0"/>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40</a:t>
            </a:fld>
            <a:endParaRPr lang="en-US"/>
          </a:p>
        </p:txBody>
      </p:sp>
    </p:spTree>
    <p:extLst>
      <p:ext uri="{BB962C8B-B14F-4D97-AF65-F5344CB8AC3E}">
        <p14:creationId xmlns:p14="http://schemas.microsoft.com/office/powerpoint/2010/main" val="24890708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ug Windows</a:t>
            </a:r>
            <a:r>
              <a:rPr lang="en-US" baseline="0" dirty="0"/>
              <a:t> “Hello” feature (login with face scan or fingerprint):</a:t>
            </a:r>
          </a:p>
          <a:p>
            <a:r>
              <a:rPr lang="en-US" sz="1200" b="0" i="0" kern="1200" dirty="0">
                <a:solidFill>
                  <a:schemeClr val="tx1"/>
                </a:solidFill>
                <a:effectLst/>
                <a:latin typeface="+mn-lt"/>
                <a:ea typeface="+mn-ea"/>
                <a:cs typeface="+mn-cs"/>
              </a:rPr>
              <a:t>Windows Hello is a more personal, more secure way to get instant access to your Windows 10 devices using fingerprint or facial recognition. Surface Pro 4, Surface Book, and most PCs with fingerprint readers are ready to use Windows Hello now, and more devices that can recognize your face and fingerprint will be available in the future.</a:t>
            </a:r>
          </a:p>
          <a:p>
            <a:endParaRPr lang="en-US" sz="1200" b="0" i="0" kern="1200" baseline="0" dirty="0">
              <a:solidFill>
                <a:schemeClr val="tx1"/>
              </a:solidFill>
              <a:effectLst/>
              <a:latin typeface="+mn-lt"/>
              <a:ea typeface="+mn-ea"/>
              <a:cs typeface="+mn-cs"/>
            </a:endParaRPr>
          </a:p>
          <a:p>
            <a:endParaRPr lang="en-US" baseline="0" dirty="0"/>
          </a:p>
          <a:p>
            <a:r>
              <a:rPr lang="en-US" baseline="0" dirty="0"/>
              <a:t>Plug Z Factor Authentication by Windows</a:t>
            </a:r>
          </a:p>
          <a:p>
            <a:endParaRPr lang="en-US" baseline="0" dirty="0"/>
          </a:p>
          <a:p>
            <a:r>
              <a:rPr lang="en-US" baseline="0" dirty="0"/>
              <a:t>We’ve moved beyond just firewalls and endpoint security towards intrusion detection; threat evaluation;  </a:t>
            </a:r>
          </a:p>
          <a:p>
            <a:r>
              <a:rPr lang="en-US" baseline="0" dirty="0"/>
              <a:t>Geolocation is also an issue – </a:t>
            </a:r>
          </a:p>
          <a:p>
            <a:endParaRPr lang="en-US" baseline="0" dirty="0"/>
          </a:p>
          <a:p>
            <a:r>
              <a:rPr lang="en-US" baseline="0" dirty="0"/>
              <a:t>Disclosure requirements – once you’ve been hacked</a:t>
            </a:r>
          </a:p>
          <a:p>
            <a:r>
              <a:rPr lang="en-US" baseline="0" dirty="0"/>
              <a:t>Forensics requirements – to preserve a hacked environment</a:t>
            </a:r>
          </a:p>
          <a:p>
            <a:endParaRPr lang="en-US" baseline="0" dirty="0"/>
          </a:p>
          <a:p>
            <a:r>
              <a:rPr lang="en-US" baseline="0" dirty="0"/>
              <a:t>Audits – looking at the policies around your environment</a:t>
            </a:r>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42</a:t>
            </a:fld>
            <a:endParaRPr lang="en-US"/>
          </a:p>
        </p:txBody>
      </p:sp>
    </p:spTree>
    <p:extLst>
      <p:ext uri="{BB962C8B-B14F-4D97-AF65-F5344CB8AC3E}">
        <p14:creationId xmlns:p14="http://schemas.microsoft.com/office/powerpoint/2010/main" val="323015688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0">
                      <a:srgbClr val="FFFFFF"/>
                    </a:gs>
                    <a:gs pos="100000">
                      <a:srgbClr val="FFFFFF"/>
                    </a:gs>
                  </a:gsLst>
                  <a:lin ang="5400000" scaled="0"/>
                </a:gradFill>
                <a:cs typeface="Segoe UI" pitchFamily="34" charset="0"/>
              </a:rPr>
              <a:t>IT professionals</a:t>
            </a:r>
            <a:r>
              <a:rPr lang="en-US" sz="1200" baseline="0" dirty="0">
                <a:gradFill>
                  <a:gsLst>
                    <a:gs pos="0">
                      <a:srgbClr val="FFFFFF"/>
                    </a:gs>
                    <a:gs pos="100000">
                      <a:srgbClr val="FFFFFF"/>
                    </a:gs>
                  </a:gsLst>
                  <a:lin ang="5400000" scaled="0"/>
                </a:gradFill>
                <a:cs typeface="Segoe UI" pitchFamily="34" charset="0"/>
              </a:rPr>
              <a:t> are starting to understand that 100% protection is not possible.</a:t>
            </a:r>
            <a:endParaRPr lang="en-US" dirty="0"/>
          </a:p>
          <a:p>
            <a:endParaRPr lang="en-US" sz="1200" dirty="0">
              <a:gradFill>
                <a:gsLst>
                  <a:gs pos="0">
                    <a:srgbClr val="FFFFFF"/>
                  </a:gs>
                  <a:gs pos="100000">
                    <a:srgbClr val="FFFFFF"/>
                  </a:gs>
                </a:gsLst>
                <a:lin ang="5400000" scaled="0"/>
              </a:gradFill>
              <a:ea typeface="Segoe UI" pitchFamily="34" charset="0"/>
              <a:cs typeface="Segoe UI" pitchFamily="34" charset="0"/>
            </a:endParaRPr>
          </a:p>
          <a:p>
            <a:r>
              <a:rPr lang="en-US" sz="1200" dirty="0">
                <a:gradFill>
                  <a:gsLst>
                    <a:gs pos="0">
                      <a:srgbClr val="FFFFFF"/>
                    </a:gs>
                    <a:gs pos="100000">
                      <a:srgbClr val="FFFFFF"/>
                    </a:gs>
                  </a:gsLst>
                  <a:lin ang="5400000" scaled="0"/>
                </a:gradFill>
                <a:ea typeface="Segoe UI" pitchFamily="34" charset="0"/>
                <a:cs typeface="Segoe UI" pitchFamily="34" charset="0"/>
              </a:rPr>
              <a:t>Rather than a focus on protection, focus is shifting to detecting and responding to malicious incidents.</a:t>
            </a:r>
          </a:p>
          <a:p>
            <a:endParaRPr lang="en-US" sz="1200" dirty="0">
              <a:gradFill>
                <a:gsLst>
                  <a:gs pos="0">
                    <a:srgbClr val="FFFFFF"/>
                  </a:gs>
                  <a:gs pos="100000">
                    <a:srgbClr val="FFFFFF"/>
                  </a:gs>
                </a:gsLst>
                <a:lin ang="5400000" scaled="0"/>
              </a:gradFill>
              <a:ea typeface="Segoe UI" pitchFamily="34" charset="0"/>
              <a:cs typeface="Segoe UI" pitchFamily="34" charset="0"/>
            </a:endParaRPr>
          </a:p>
          <a:p>
            <a:r>
              <a:rPr lang="en-US" sz="1200" dirty="0">
                <a:gradFill>
                  <a:gsLst>
                    <a:gs pos="0">
                      <a:srgbClr val="FFFFFF"/>
                    </a:gs>
                    <a:gs pos="100000">
                      <a:srgbClr val="FFFFFF"/>
                    </a:gs>
                  </a:gsLst>
                  <a:lin ang="5400000" scaled="0"/>
                </a:gradFill>
                <a:ea typeface="Segoe UI" pitchFamily="34" charset="0"/>
                <a:cs typeface="Segoe UI" pitchFamily="34" charset="0"/>
              </a:rPr>
              <a:t>Currently, the</a:t>
            </a:r>
            <a:r>
              <a:rPr lang="en-US" sz="1200" baseline="0" dirty="0">
                <a:gradFill>
                  <a:gsLst>
                    <a:gs pos="0">
                      <a:srgbClr val="FFFFFF"/>
                    </a:gs>
                    <a:gs pos="100000">
                      <a:srgbClr val="FFFFFF"/>
                    </a:gs>
                  </a:gsLst>
                  <a:lin ang="5400000" scaled="0"/>
                </a:gradFill>
                <a:ea typeface="Segoe UI" pitchFamily="34" charset="0"/>
                <a:cs typeface="Segoe UI" pitchFamily="34" charset="0"/>
              </a:rPr>
              <a:t> security industry is not very good at recognizing breaches as evidenced by the data:</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1">
                    <a:lumMod val="50000"/>
                  </a:schemeClr>
                </a:solidFill>
                <a:ea typeface="Segoe UI" pitchFamily="34" charset="0"/>
                <a:cs typeface="Segoe UI" pitchFamily="34" charset="0"/>
              </a:rPr>
              <a:t>The average time to detect malware was </a:t>
            </a:r>
            <a:r>
              <a:rPr lang="en-US" sz="1200" dirty="0">
                <a:solidFill>
                  <a:schemeClr val="tx2"/>
                </a:solidFill>
                <a:ea typeface="Segoe UI" pitchFamily="34" charset="0"/>
                <a:cs typeface="Segoe UI" pitchFamily="34" charset="0"/>
              </a:rPr>
              <a:t>205 days</a:t>
            </a:r>
            <a:r>
              <a:rPr lang="en-US" sz="1200" dirty="0">
                <a:ea typeface="Segoe UI" pitchFamily="34" charset="0"/>
                <a:cs typeface="Segoe UI" pitchFamily="34" charset="0"/>
              </a:rPr>
              <a:t>, </a:t>
            </a:r>
            <a:r>
              <a:rPr lang="en-US" sz="1200" dirty="0">
                <a:solidFill>
                  <a:schemeClr val="bg1">
                    <a:lumMod val="50000"/>
                  </a:schemeClr>
                </a:solidFill>
                <a:ea typeface="Segoe UI" pitchFamily="34" charset="0"/>
                <a:cs typeface="Segoe UI" pitchFamily="34" charset="0"/>
              </a:rPr>
              <a:t>and</a:t>
            </a:r>
            <a:r>
              <a:rPr lang="en-US" sz="1200" dirty="0">
                <a:ea typeface="Segoe UI" pitchFamily="34" charset="0"/>
                <a:cs typeface="Segoe UI" pitchFamily="34" charset="0"/>
              </a:rPr>
              <a:t> </a:t>
            </a:r>
            <a:r>
              <a:rPr lang="en-US" sz="1200" dirty="0">
                <a:solidFill>
                  <a:schemeClr val="tx2"/>
                </a:solidFill>
                <a:ea typeface="Segoe UI" pitchFamily="34" charset="0"/>
                <a:cs typeface="Segoe UI" pitchFamily="34" charset="0"/>
              </a:rPr>
              <a:t>69% were discovered by external parties</a:t>
            </a:r>
            <a:r>
              <a:rPr lang="en-US" sz="1200" dirty="0">
                <a:solidFill>
                  <a:schemeClr val="bg1">
                    <a:lumMod val="50000"/>
                  </a:schemeClr>
                </a:solidFill>
                <a:ea typeface="Segoe UI" pitchFamily="34" charset="0"/>
                <a:cs typeface="Segoe UI" pitchFamily="34" charset="0"/>
              </a:rPr>
              <a:t>, not internal IT department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schemeClr val="bg1">
                  <a:lumMod val="50000"/>
                </a:schemeClr>
              </a:solidFill>
              <a:ea typeface="Segoe UI" pitchFamily="34" charset="0"/>
              <a:cs typeface="Segoe UI" pitchFamily="34" charset="0"/>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bg1">
                    <a:lumMod val="50000"/>
                  </a:schemeClr>
                </a:solidFill>
                <a:ea typeface="Segoe UI" pitchFamily="34" charset="0"/>
                <a:cs typeface="Segoe UI" pitchFamily="34" charset="0"/>
              </a:rPr>
              <a:t>By 2020, </a:t>
            </a:r>
            <a:r>
              <a:rPr lang="en-US" sz="1200" dirty="0">
                <a:solidFill>
                  <a:schemeClr val="tx2"/>
                </a:solidFill>
              </a:rPr>
              <a:t>60%</a:t>
            </a:r>
            <a:r>
              <a:rPr lang="en-US" sz="1200" dirty="0"/>
              <a:t> </a:t>
            </a:r>
            <a:r>
              <a:rPr lang="en-US" sz="1200" dirty="0">
                <a:solidFill>
                  <a:schemeClr val="bg1">
                    <a:lumMod val="50000"/>
                  </a:schemeClr>
                </a:solidFill>
                <a:ea typeface="Segoe UI" pitchFamily="34" charset="0"/>
                <a:cs typeface="Segoe UI" pitchFamily="34" charset="0"/>
              </a:rPr>
              <a:t>of enterprise information security budgets will be allocated for </a:t>
            </a:r>
            <a:r>
              <a:rPr lang="en-US" sz="1200" dirty="0">
                <a:solidFill>
                  <a:schemeClr val="tx2"/>
                </a:solidFill>
              </a:rPr>
              <a:t>rapid detection and response approaches</a:t>
            </a:r>
            <a:r>
              <a:rPr lang="en-US" sz="1200" dirty="0">
                <a:solidFill>
                  <a:schemeClr val="bg1">
                    <a:lumMod val="50000"/>
                  </a:schemeClr>
                </a:solidFill>
                <a:ea typeface="Segoe UI" pitchFamily="34" charset="0"/>
                <a:cs typeface="Segoe UI" pitchFamily="34" charset="0"/>
              </a:rPr>
              <a:t>, up from less than 20% in 2015.</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dirty="0">
              <a:solidFill>
                <a:schemeClr val="bg1">
                  <a:lumMod val="50000"/>
                </a:schemeClr>
              </a:solidFill>
              <a:ea typeface="Segoe UI" pitchFamily="34" charset="0"/>
              <a:cs typeface="Segoe UI" pitchFamily="34" charset="0"/>
            </a:endParaRPr>
          </a:p>
          <a:p>
            <a:pPr marL="171450" indent="-171450">
              <a:buFont typeface="Arial" panose="020B0604020202020204" pitchFamily="34" charset="0"/>
              <a:buChar char="•"/>
            </a:pPr>
            <a:endParaRPr lang="en-US" sz="1200" baseline="0" dirty="0">
              <a:gradFill>
                <a:gsLst>
                  <a:gs pos="0">
                    <a:srgbClr val="FFFFFF"/>
                  </a:gs>
                  <a:gs pos="100000">
                    <a:srgbClr val="FFFFFF"/>
                  </a:gs>
                </a:gsLst>
                <a:lin ang="5400000" scaled="0"/>
              </a:gradFill>
              <a:ea typeface="Segoe UI" pitchFamily="34" charset="0"/>
              <a:cs typeface="Segoe UI" pitchFamily="34" charset="0"/>
            </a:endParaRPr>
          </a:p>
          <a:p>
            <a:endParaRPr lang="en-US" sz="1200" dirty="0">
              <a:gradFill>
                <a:gsLst>
                  <a:gs pos="0">
                    <a:srgbClr val="FFFFFF"/>
                  </a:gs>
                  <a:gs pos="100000">
                    <a:srgbClr val="FFFFFF"/>
                  </a:gs>
                </a:gsLst>
                <a:lin ang="5400000" scaled="0"/>
              </a:gradFill>
              <a:ea typeface="Segoe UI" pitchFamily="34" charset="0"/>
              <a:cs typeface="Segoe UI" pitchFamily="34" charset="0"/>
            </a:endParaRPr>
          </a:p>
          <a:p>
            <a:endParaRPr lang="en-US" sz="1200" dirty="0">
              <a:gradFill>
                <a:gsLst>
                  <a:gs pos="0">
                    <a:srgbClr val="FFFFFF"/>
                  </a:gs>
                  <a:gs pos="100000">
                    <a:srgbClr val="FFFFFF"/>
                  </a:gs>
                </a:gsLst>
                <a:lin ang="5400000" scaled="0"/>
              </a:gradFill>
              <a:cs typeface="Segoe UI" pitchFamily="34" charset="0"/>
            </a:endParaRPr>
          </a:p>
        </p:txBody>
      </p:sp>
      <p:sp>
        <p:nvSpPr>
          <p:cNvPr id="4" name="Slide Number Placeholder 3"/>
          <p:cNvSpPr>
            <a:spLocks noGrp="1"/>
          </p:cNvSpPr>
          <p:nvPr>
            <p:ph type="sldNum" sz="quarter" idx="10"/>
          </p:nvPr>
        </p:nvSpPr>
        <p:spPr/>
        <p:txBody>
          <a:bodyPr/>
          <a:lstStyle/>
          <a:p>
            <a:fld id="{B2B8AD64-0AA2-4D71-8B13-28C950C46D2A}" type="slidenum">
              <a:rPr lang="en-US" smtClean="0"/>
              <a:t>43</a:t>
            </a:fld>
            <a:endParaRPr lang="en-US"/>
          </a:p>
        </p:txBody>
      </p:sp>
    </p:spTree>
    <p:extLst>
      <p:ext uri="{BB962C8B-B14F-4D97-AF65-F5344CB8AC3E}">
        <p14:creationId xmlns:p14="http://schemas.microsoft.com/office/powerpoint/2010/main" val="326207384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oal of the White</a:t>
            </a:r>
            <a:r>
              <a:rPr lang="en-US" baseline="0" dirty="0"/>
              <a:t> Hat is to surf the cyber wave just in front of the Black Hats. To stay just in front of the next black hat hack, to out-think, if not out-maneuver, the next bug hack.</a:t>
            </a:r>
          </a:p>
          <a:p>
            <a:endParaRPr lang="en-US" baseline="0" dirty="0"/>
          </a:p>
          <a:p>
            <a:r>
              <a:rPr lang="en-US" baseline="0" dirty="0"/>
              <a:t>How can you create the next invisible target? By starting to focus on learning what cyber security is today and understanding what it needs to be tomorrow, in order to surf the wave and stay ahead of the momentum behind you.</a:t>
            </a:r>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44</a:t>
            </a:fld>
            <a:endParaRPr lang="en-US"/>
          </a:p>
        </p:txBody>
      </p:sp>
    </p:spTree>
    <p:extLst>
      <p:ext uri="{BB962C8B-B14F-4D97-AF65-F5344CB8AC3E}">
        <p14:creationId xmlns:p14="http://schemas.microsoft.com/office/powerpoint/2010/main" val="1606414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t>Imagine logging into your laptop in the morning, and the first thing you see is a creepy red skeleton with these words underneath: </a:t>
            </a:r>
            <a:r>
              <a:rPr lang="en-US" i="1" dirty="0"/>
              <a:t>'Warning: We've already warned you, and this is just a beginning. We continue till our request be met. We've obtained all your internal data including your secrets and top secret.'</a:t>
            </a:r>
          </a:p>
          <a:p>
            <a:r>
              <a:rPr lang="en-US" dirty="0"/>
              <a:t>  </a:t>
            </a:r>
          </a:p>
          <a:p>
            <a:r>
              <a:rPr lang="en-US" dirty="0"/>
              <a:t>What do you do next? </a:t>
            </a:r>
          </a:p>
          <a:p>
            <a:endParaRPr lang="en-US" dirty="0"/>
          </a:p>
          <a:p>
            <a:pPr>
              <a:defRPr/>
            </a:pPr>
            <a:r>
              <a:rPr lang="en-US" dirty="0"/>
              <a:t> Fortune magazine called this “The Hack of the Century” – from their article: “…starting at about 7 a.m. Pacific time on Monday, Nov. 24—a crushing cyberattack was launched on Sony Pictures. Employees logging on to its network were met with the sound of gunfire, scrolling threats, and the menacing image of a fiery skeleton looming over the tiny </a:t>
            </a:r>
            <a:r>
              <a:rPr lang="en-US" dirty="0" err="1"/>
              <a:t>zombified</a:t>
            </a:r>
            <a:r>
              <a:rPr lang="en-US" dirty="0"/>
              <a:t> heads of the studio’s top two executives.” The malware they released “ …erased everything stored on 3,262 of the company’s 6,797 personal computers and 837 of its 1,555 servers. To make sure nothing could be recovered, the attackers had even added a little extra poison: a special deleting algorithm that overwrote the data seven different ways. When that was done, the code zapped each computer’s startup software, rendering the machines brain-dead.”</a:t>
            </a:r>
          </a:p>
          <a:p>
            <a:pPr>
              <a:defRPr/>
            </a:pPr>
            <a:endParaRPr lang="en-US" dirty="0"/>
          </a:p>
          <a:p>
            <a:r>
              <a:rPr lang="en-US" dirty="0"/>
              <a:t>All in all, the hackers stole and then released executive emails providing details that those executives never meant for anyone other than their intended recipients. They certainly never meant their comments for public consumption.  The hackers also stole payroll and Social Security information on employees, movie scripts and unreleased films!</a:t>
            </a:r>
          </a:p>
          <a:p>
            <a:endParaRPr lang="en-US" dirty="0"/>
          </a:p>
          <a:p>
            <a:r>
              <a:rPr lang="en-US" dirty="0"/>
              <a:t>The reputational damage that Sony suffered was fantastic. On Dec 12, the US federal government blamed N Korea for the hack. Sony received zero support from the Hollywood community,</a:t>
            </a:r>
            <a:r>
              <a:rPr lang="en-US" baseline="0" dirty="0"/>
              <a:t> </a:t>
            </a:r>
            <a:r>
              <a:rPr lang="en-US" dirty="0"/>
              <a:t>loss of it’s employees’ trust, who were now being threatened with identity theft.</a:t>
            </a:r>
          </a:p>
        </p:txBody>
      </p:sp>
      <p:sp>
        <p:nvSpPr>
          <p:cNvPr id="4" name="Slide Number Placeholder 3"/>
          <p:cNvSpPr>
            <a:spLocks noGrp="1"/>
          </p:cNvSpPr>
          <p:nvPr>
            <p:ph type="sldNum" sz="quarter" idx="10"/>
          </p:nvPr>
        </p:nvSpPr>
        <p:spPr/>
        <p:txBody>
          <a:bodyPr/>
          <a:lstStyle/>
          <a:p>
            <a:fld id="{B2B8AD64-0AA2-4D71-8B13-28C950C46D2A}" type="slidenum">
              <a:rPr lang="en-US" smtClean="0"/>
              <a:t>5</a:t>
            </a:fld>
            <a:endParaRPr lang="en-US"/>
          </a:p>
        </p:txBody>
      </p:sp>
    </p:spTree>
    <p:extLst>
      <p:ext uri="{BB962C8B-B14F-4D97-AF65-F5344CB8AC3E}">
        <p14:creationId xmlns:p14="http://schemas.microsoft.com/office/powerpoint/2010/main" val="300887306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a:t>
            </a:r>
            <a:r>
              <a:rPr lang="en-US"/>
              <a:t> are many different ways to enter and navigate a career in cybersecurity.  There are lots of opportunities to focus on the aspect of cybercrime that most appeals to you.</a:t>
            </a:r>
          </a:p>
        </p:txBody>
      </p:sp>
      <p:sp>
        <p:nvSpPr>
          <p:cNvPr id="4" name="Slide Number Placeholder 3"/>
          <p:cNvSpPr>
            <a:spLocks noGrp="1"/>
          </p:cNvSpPr>
          <p:nvPr>
            <p:ph type="sldNum" sz="quarter" idx="10"/>
          </p:nvPr>
        </p:nvSpPr>
        <p:spPr/>
        <p:txBody>
          <a:bodyPr/>
          <a:lstStyle/>
          <a:p>
            <a:fld id="{B2B8AD64-0AA2-4D71-8B13-28C950C46D2A}" type="slidenum">
              <a:rPr lang="en-US" smtClean="0"/>
              <a:t>45</a:t>
            </a:fld>
            <a:endParaRPr lang="en-US"/>
          </a:p>
        </p:txBody>
      </p:sp>
    </p:spTree>
    <p:extLst>
      <p:ext uri="{BB962C8B-B14F-4D97-AF65-F5344CB8AC3E}">
        <p14:creationId xmlns:p14="http://schemas.microsoft.com/office/powerpoint/2010/main" val="298539884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I’ve told you some stories, asked you some questions and hopefully taught you something about a specific type of hack that we need to prevent.  The black hat community is out there, and able to negatively affect your finances, credit, history or reputation.</a:t>
            </a:r>
          </a:p>
          <a:p>
            <a:endParaRPr lang="en-US" dirty="0"/>
          </a:p>
          <a:p>
            <a:r>
              <a:rPr lang="en-US" dirty="0"/>
              <a:t>We are in need of someone just like you to help us to reduce the amount and severity of cybercrime on a level that can sometimes feel too hard to manage. There’s no direct route beyond your own curiosity, no specific path and no list of “must have” certifications. This is a real and growing problem in need of solutions.</a:t>
            </a:r>
          </a:p>
          <a:p>
            <a:endParaRPr lang="en-US" dirty="0"/>
          </a:p>
          <a:p>
            <a:endParaRPr lang="en-US" dirty="0"/>
          </a:p>
          <a:p>
            <a:pPr>
              <a:defRPr/>
            </a:pPr>
            <a:r>
              <a:rPr lang="en-US" dirty="0"/>
              <a:t>You can be the one to create an invisible target through a career in cybersecurity. Can you solve the puzzle?</a:t>
            </a:r>
          </a:p>
          <a:p>
            <a:pPr>
              <a:defRPr/>
            </a:pPr>
            <a:endParaRPr lang="en-US" dirty="0">
              <a:gradFill>
                <a:gsLst>
                  <a:gs pos="2917">
                    <a:schemeClr val="tx1"/>
                  </a:gs>
                  <a:gs pos="30000">
                    <a:schemeClr val="tx1"/>
                  </a:gs>
                </a:gsLst>
                <a:lin ang="5400000" scaled="0"/>
              </a:gradFill>
            </a:endParaRPr>
          </a:p>
          <a:p>
            <a:pPr>
              <a:defRPr/>
            </a:pPr>
            <a:r>
              <a:rPr lang="en-US" dirty="0">
                <a:gradFill>
                  <a:gsLst>
                    <a:gs pos="2917">
                      <a:schemeClr val="tx1"/>
                    </a:gs>
                    <a:gs pos="30000">
                      <a:schemeClr val="tx1"/>
                    </a:gs>
                  </a:gsLst>
                  <a:lin ang="5400000" scaled="0"/>
                </a:gradFill>
              </a:rPr>
              <a:t>Next steps:</a:t>
            </a:r>
          </a:p>
          <a:p>
            <a:pPr>
              <a:defRPr/>
            </a:pPr>
            <a:r>
              <a:rPr lang="en-US" i="1" dirty="0"/>
              <a:t>Want to compete to win cash and prizes?</a:t>
            </a:r>
            <a:r>
              <a:rPr lang="en-US" i="1" baseline="0" dirty="0"/>
              <a:t> </a:t>
            </a:r>
            <a:r>
              <a:rPr lang="en-US" dirty="0"/>
              <a:t>The </a:t>
            </a:r>
            <a:r>
              <a:rPr lang="en-US" sz="1200" b="0" i="0" kern="1200" dirty="0">
                <a:solidFill>
                  <a:schemeClr val="tx1"/>
                </a:solidFill>
                <a:effectLst/>
                <a:latin typeface="+mn-lt"/>
                <a:ea typeface="+mn-ea"/>
                <a:cs typeface="+mn-cs"/>
              </a:rPr>
              <a:t>Imagine Cup is a global student technology program and competition that provides opportunities for students across all disciplines to team up and use their creativity, passion and knowledge of technology to create applications, games and integrate solutions that can change the way we live, work and play.  Be the first to start a</a:t>
            </a:r>
            <a:r>
              <a:rPr lang="en-US" sz="1200" b="0" i="0" kern="1200" baseline="0" dirty="0">
                <a:solidFill>
                  <a:schemeClr val="tx1"/>
                </a:solidFill>
                <a:effectLst/>
                <a:latin typeface="+mn-lt"/>
                <a:ea typeface="+mn-ea"/>
                <a:cs typeface="+mn-cs"/>
              </a:rPr>
              <a:t> Cybersecurity-focused technology!</a:t>
            </a:r>
          </a:p>
          <a:p>
            <a:pPr>
              <a:defRPr/>
            </a:pPr>
            <a:endParaRPr lang="en-US" sz="1200" b="0" i="0" kern="1200" baseline="0" dirty="0">
              <a:solidFill>
                <a:schemeClr val="tx1"/>
              </a:solidFill>
              <a:effectLst/>
              <a:latin typeface="+mn-lt"/>
              <a:ea typeface="+mn-ea"/>
              <a:cs typeface="+mn-cs"/>
            </a:endParaRPr>
          </a:p>
          <a:p>
            <a:pPr fontAlgn="base"/>
            <a:r>
              <a:rPr lang="en-US" i="1" dirty="0"/>
              <a:t>Want to be the Tech Guru on your campus? </a:t>
            </a:r>
            <a:r>
              <a:rPr lang="en-US" dirty="0"/>
              <a:t>The </a:t>
            </a:r>
            <a:r>
              <a:rPr lang="en-US" sz="1200" b="0" i="0" kern="1200" dirty="0">
                <a:solidFill>
                  <a:schemeClr val="tx1"/>
                </a:solidFill>
                <a:effectLst/>
                <a:latin typeface="+mn-lt"/>
                <a:ea typeface="+mn-ea"/>
                <a:cs typeface="+mn-cs"/>
              </a:rPr>
              <a:t>Microsoft Student Partners (MSPs) are student technology leaders, empowered to build Microsoft communities on their campus and share their deep knowledge and passion for technology with their fellow classmates.</a:t>
            </a:r>
            <a:endParaRPr lang="en-US" dirty="0"/>
          </a:p>
          <a:p>
            <a:pPr lvl="1" fontAlgn="base"/>
            <a:r>
              <a:rPr lang="en-US" dirty="0"/>
              <a:t>Spanning more than 100 countries around the world, </a:t>
            </a:r>
            <a:r>
              <a:rPr lang="en-US" b="1" dirty="0"/>
              <a:t>MSPs receive:</a:t>
            </a:r>
            <a:br>
              <a:rPr lang="en-US" dirty="0"/>
            </a:br>
            <a:r>
              <a:rPr lang="en-US" b="1" dirty="0"/>
              <a:t>Leadership Experience</a:t>
            </a:r>
            <a:r>
              <a:rPr lang="en-US" dirty="0"/>
              <a:t> – Host fun workshops, run hackathons, and give demos on campus to grow a community of students.</a:t>
            </a:r>
          </a:p>
          <a:p>
            <a:pPr lvl="1" fontAlgn="base"/>
            <a:r>
              <a:rPr lang="en-US" b="1" dirty="0"/>
              <a:t>Resume Building</a:t>
            </a:r>
            <a:r>
              <a:rPr lang="en-US" dirty="0"/>
              <a:t> - Enhance their promotional skills, add to their professional technology experience, and work alongside Microsoft professionals.</a:t>
            </a:r>
          </a:p>
          <a:p>
            <a:pPr lvl="1" fontAlgn="base"/>
            <a:r>
              <a:rPr lang="en-US" b="1" dirty="0"/>
              <a:t>Exclusive Access</a:t>
            </a:r>
            <a:r>
              <a:rPr lang="en-US" dirty="0"/>
              <a:t> – Receive insider training, exposure to career opportunities, and access to the latest technology events.</a:t>
            </a:r>
          </a:p>
          <a:p>
            <a:pPr>
              <a:defRPr/>
            </a:pPr>
            <a:br>
              <a:rPr lang="en-US" dirty="0"/>
            </a:br>
            <a:endParaRPr lang="en-US" dirty="0">
              <a:gradFill>
                <a:gsLst>
                  <a:gs pos="2917">
                    <a:schemeClr val="tx1"/>
                  </a:gs>
                  <a:gs pos="30000">
                    <a:schemeClr val="tx1"/>
                  </a:gs>
                </a:gsLst>
                <a:lin ang="5400000" scaled="0"/>
              </a:gradFill>
            </a:endParaRPr>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46</a:t>
            </a:fld>
            <a:endParaRPr lang="en-US"/>
          </a:p>
        </p:txBody>
      </p:sp>
    </p:spTree>
    <p:extLst>
      <p:ext uri="{BB962C8B-B14F-4D97-AF65-F5344CB8AC3E}">
        <p14:creationId xmlns:p14="http://schemas.microsoft.com/office/powerpoint/2010/main" val="4758847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at does this mean to you? You aren’t a multinational corporation, and you change</a:t>
            </a:r>
            <a:r>
              <a:rPr lang="en-US" baseline="0" dirty="0"/>
              <a:t> your passwords frequently, right?</a:t>
            </a:r>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6</a:t>
            </a:fld>
            <a:endParaRPr lang="en-US"/>
          </a:p>
        </p:txBody>
      </p:sp>
    </p:spTree>
    <p:extLst>
      <p:ext uri="{BB962C8B-B14F-4D97-AF65-F5344CB8AC3E}">
        <p14:creationId xmlns:p14="http://schemas.microsoft.com/office/powerpoint/2010/main" val="34995337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lt;for the TE: Article for more backstory:  </a:t>
            </a:r>
            <a:r>
              <a:rPr lang="en-US" sz="1200" kern="1200" dirty="0">
                <a:solidFill>
                  <a:schemeClr val="tx1"/>
                </a:solidFill>
                <a:effectLst/>
                <a:latin typeface="+mn-lt"/>
                <a:ea typeface="+mn-ea"/>
                <a:cs typeface="+mn-cs"/>
                <a:hlinkClick r:id="rId3"/>
              </a:rPr>
              <a:t>https://www.wired.com/2016/05/maksym-igor-popov-fbi/</a:t>
            </a:r>
            <a:r>
              <a:rPr lang="en-US" sz="1200" kern="1200" dirty="0">
                <a:solidFill>
                  <a:schemeClr val="tx1"/>
                </a:solidFill>
                <a:effectLst/>
                <a:latin typeface="+mn-lt"/>
                <a:ea typeface="+mn-ea"/>
                <a:cs typeface="+mn-cs"/>
              </a:rPr>
              <a:t> </a:t>
            </a:r>
            <a:r>
              <a:rPr lang="en-US" dirty="0"/>
              <a:t>&gt;&gt;</a:t>
            </a:r>
          </a:p>
          <a:p>
            <a:endParaRPr lang="en-US" dirty="0"/>
          </a:p>
          <a:p>
            <a:r>
              <a:rPr lang="en-US" dirty="0"/>
              <a:t>Meet </a:t>
            </a:r>
            <a:r>
              <a:rPr lang="en-US" sz="1200" b="0" i="0" kern="1200" dirty="0" err="1">
                <a:solidFill>
                  <a:schemeClr val="tx1"/>
                </a:solidFill>
                <a:effectLst/>
                <a:latin typeface="+mn-lt"/>
                <a:ea typeface="+mn-ea"/>
                <a:cs typeface="+mn-cs"/>
              </a:rPr>
              <a:t>Maksym</a:t>
            </a:r>
            <a:r>
              <a:rPr lang="en-US" sz="1200" b="0" i="0" kern="1200" dirty="0">
                <a:solidFill>
                  <a:schemeClr val="tx1"/>
                </a:solidFill>
                <a:effectLst/>
                <a:latin typeface="+mn-lt"/>
                <a:ea typeface="+mn-ea"/>
                <a:cs typeface="+mn-cs"/>
              </a:rPr>
              <a:t> Igor Popov,</a:t>
            </a:r>
            <a:r>
              <a:rPr lang="en-US" sz="1200" b="0" i="0" kern="1200" baseline="0" dirty="0">
                <a:solidFill>
                  <a:schemeClr val="tx1"/>
                </a:solidFill>
                <a:effectLst/>
                <a:latin typeface="+mn-lt"/>
                <a:ea typeface="+mn-ea"/>
                <a:cs typeface="+mn-cs"/>
              </a:rPr>
              <a:t> a Black Hat from the Ukraine. At 20 years old, he sought asylum in the United States. He’d already accumulated enough enemies in his native country that he felt it would be best to leave, start a new life, help catch hackers just like him and get rich doing it. </a:t>
            </a:r>
          </a:p>
          <a:p>
            <a:endParaRPr lang="en-US" dirty="0"/>
          </a:p>
          <a:p>
            <a:r>
              <a:rPr lang="en-US" sz="1200" b="0" i="0" kern="1200" baseline="0" dirty="0">
                <a:solidFill>
                  <a:schemeClr val="tx1"/>
                </a:solidFill>
                <a:effectLst/>
                <a:latin typeface="+mn-lt"/>
                <a:ea typeface="+mn-ea"/>
                <a:cs typeface="+mn-cs"/>
              </a:rPr>
              <a:t>The reality was, although the US accepted his request, the feds (the Federal Bureau of Investigation, or the FBI) arrested him upon arriving on US soil for his part in the extortion and fraud of some large US companies, and instructed him to either work for the FBI to help capture more like him, or serve time in prison.</a:t>
            </a:r>
          </a:p>
          <a:p>
            <a:r>
              <a:rPr lang="en-US" sz="1200" b="0" i="0" kern="1200" baseline="0" dirty="0">
                <a:solidFill>
                  <a:schemeClr val="tx1"/>
                </a:solidFill>
                <a:effectLst/>
                <a:latin typeface="+mn-lt"/>
                <a:ea typeface="+mn-ea"/>
                <a:cs typeface="+mn-cs"/>
              </a:rPr>
              <a:t>At first, </a:t>
            </a:r>
            <a:r>
              <a:rPr lang="en-US" sz="1200" b="0" i="0" kern="1200" baseline="0" dirty="0" err="1">
                <a:solidFill>
                  <a:schemeClr val="tx1"/>
                </a:solidFill>
                <a:effectLst/>
                <a:latin typeface="+mn-lt"/>
                <a:ea typeface="+mn-ea"/>
                <a:cs typeface="+mn-cs"/>
              </a:rPr>
              <a:t>Maksym</a:t>
            </a:r>
            <a:r>
              <a:rPr lang="en-US" sz="1200" b="0" i="0" kern="1200" baseline="0" dirty="0">
                <a:solidFill>
                  <a:schemeClr val="tx1"/>
                </a:solidFill>
                <a:effectLst/>
                <a:latin typeface="+mn-lt"/>
                <a:ea typeface="+mn-ea"/>
                <a:cs typeface="+mn-cs"/>
              </a:rPr>
              <a:t> chose to “help” the FBI be working for them as an informant; he’d log into hacker chat rooms and let the FBI know what was going on. I say “help” because for three months, he used popular expressions in Russian to warn his friends that he was being forced to spy on them for the US authorities. Once the FBI caught on, however, Popov was brought up on charges and then about to be sent to jail to serve out his term.</a:t>
            </a:r>
          </a:p>
          <a:p>
            <a:endParaRPr lang="en-US" dirty="0"/>
          </a:p>
          <a:p>
            <a:r>
              <a:rPr lang="en-US" sz="1200" b="0" i="0" kern="1200" baseline="0" dirty="0">
                <a:solidFill>
                  <a:schemeClr val="tx1"/>
                </a:solidFill>
                <a:effectLst/>
                <a:latin typeface="+mn-lt"/>
                <a:ea typeface="+mn-ea"/>
                <a:cs typeface="+mn-cs"/>
              </a:rPr>
              <a:t>A single FBI agent believed that Popov could still be of help, however. Instead of turning in his friends, he’d find hackers that he didn’t know and trick them into getting caught, instead of having to turn in people he knew. He’d sleep in his jail cell, and during the day be taken offsite to what would be called “Ant City” to bait other hackers into various traps and be caught by US authorities.</a:t>
            </a:r>
          </a:p>
          <a:p>
            <a:r>
              <a:rPr lang="en-US" sz="1200" b="0" i="0" kern="1200" baseline="0" dirty="0">
                <a:solidFill>
                  <a:schemeClr val="tx1"/>
                </a:solidFill>
                <a:effectLst/>
                <a:latin typeface="+mn-lt"/>
                <a:ea typeface="+mn-ea"/>
                <a:cs typeface="+mn-cs"/>
              </a:rPr>
              <a:t>Eventually, his 2 year prison sentence ended, and he tried his hand at making a life in the US, only to give up and return home.</a:t>
            </a:r>
          </a:p>
          <a:p>
            <a:endParaRPr lang="en-US" sz="1200" b="0" i="0" kern="1200" baseline="0" dirty="0">
              <a:solidFill>
                <a:schemeClr val="tx1"/>
              </a:solidFill>
              <a:effectLst/>
              <a:latin typeface="+mn-lt"/>
              <a:ea typeface="+mn-ea"/>
              <a:cs typeface="+mn-cs"/>
            </a:endParaRPr>
          </a:p>
          <a:p>
            <a:r>
              <a:rPr lang="en-US" sz="1200" b="0" i="0" kern="1200" baseline="0" dirty="0">
                <a:solidFill>
                  <a:schemeClr val="tx1"/>
                </a:solidFill>
                <a:effectLst/>
                <a:latin typeface="+mn-lt"/>
                <a:ea typeface="+mn-ea"/>
                <a:cs typeface="+mn-cs"/>
              </a:rPr>
              <a:t>He helped to solve some of the puzzle: Eastern European hackers just wanted a job – and in designing elaborate schemes around offers of employment to the hackers he targeted, he was able to help US officials make arrests and save millions of dollars in possible theft. </a:t>
            </a:r>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7</a:t>
            </a:fld>
            <a:endParaRPr lang="en-US"/>
          </a:p>
        </p:txBody>
      </p:sp>
    </p:spTree>
    <p:extLst>
      <p:ext uri="{BB962C8B-B14F-4D97-AF65-F5344CB8AC3E}">
        <p14:creationId xmlns:p14="http://schemas.microsoft.com/office/powerpoint/2010/main" val="14077019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at do a 20-year old </a:t>
            </a:r>
            <a:r>
              <a:rPr lang="en-US" dirty="0" err="1"/>
              <a:t>Ukranian</a:t>
            </a:r>
            <a:r>
              <a:rPr lang="en-US" dirty="0"/>
              <a:t> hacker</a:t>
            </a:r>
            <a:r>
              <a:rPr lang="en-US" baseline="0" dirty="0"/>
              <a:t> and you have in common. Let’s take an example. </a:t>
            </a:r>
            <a:r>
              <a:rPr lang="en-US" dirty="0"/>
              <a:t>This is Sarah: she’s your average computer science major with a decent social media presence, lots of good friends and a volunteer in the university community. She’s looking for the perfect internship to get a job right after graduation.</a:t>
            </a:r>
          </a:p>
          <a:p>
            <a:endParaRPr lang="en-US" dirty="0"/>
          </a:p>
          <a:p>
            <a:r>
              <a:rPr lang="en-US" dirty="0"/>
              <a:t>On the way out of her CS 121 &lt;for HARVARD&gt; final, ready to pack up and go on break, she checks FB. She notices some strange posts, but her friend John calls her to see how she did. A few hours later, on the train home, she then checks her Twitter feed and notices more strange posts. And then she checks her LinkedIn profile, it lists activities and interest that have nothing to do with her. Sarah has been hacked. She launches into a complete panic, knowing that as a part of the background check for her internship, the recruiters will be looking at her FB and Twitter feeds and her LinkedIn profile!! She’s completely panicked. How could this have happened? She majors in Computer Science!! </a:t>
            </a:r>
          </a:p>
          <a:p>
            <a:endParaRPr lang="en-US" dirty="0"/>
          </a:p>
          <a:p>
            <a:r>
              <a:rPr lang="en-US" dirty="0"/>
              <a:t>What would you do the very first time this happened to you? </a:t>
            </a:r>
          </a:p>
        </p:txBody>
      </p:sp>
      <p:sp>
        <p:nvSpPr>
          <p:cNvPr id="4" name="Slide Number Placeholder 3"/>
          <p:cNvSpPr>
            <a:spLocks noGrp="1"/>
          </p:cNvSpPr>
          <p:nvPr>
            <p:ph type="sldNum" sz="quarter" idx="10"/>
          </p:nvPr>
        </p:nvSpPr>
        <p:spPr/>
        <p:txBody>
          <a:bodyPr/>
          <a:lstStyle/>
          <a:p>
            <a:fld id="{B2B8AD64-0AA2-4D71-8B13-28C950C46D2A}" type="slidenum">
              <a:rPr lang="en-US" smtClean="0"/>
              <a:t>8</a:t>
            </a:fld>
            <a:endParaRPr lang="en-US"/>
          </a:p>
        </p:txBody>
      </p:sp>
    </p:spTree>
    <p:extLst>
      <p:ext uri="{BB962C8B-B14F-4D97-AF65-F5344CB8AC3E}">
        <p14:creationId xmlns:p14="http://schemas.microsoft.com/office/powerpoint/2010/main" val="23468763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Why would anyone want to hack into Sara’s laptop or other device? There are a variety of ways that a device can be used to do less than legal hacks. </a:t>
            </a:r>
          </a:p>
        </p:txBody>
      </p:sp>
      <p:sp>
        <p:nvSpPr>
          <p:cNvPr id="4" name="Slide Number Placeholder 3"/>
          <p:cNvSpPr>
            <a:spLocks noGrp="1"/>
          </p:cNvSpPr>
          <p:nvPr>
            <p:ph type="sldNum" sz="quarter" idx="10"/>
          </p:nvPr>
        </p:nvSpPr>
        <p:spPr/>
        <p:txBody>
          <a:bodyPr/>
          <a:lstStyle/>
          <a:p>
            <a:fld id="{B2B8AD64-0AA2-4D71-8B13-28C950C46D2A}" type="slidenum">
              <a:rPr lang="en-US" smtClean="0"/>
              <a:t>9</a:t>
            </a:fld>
            <a:endParaRPr lang="en-US"/>
          </a:p>
        </p:txBody>
      </p:sp>
    </p:spTree>
    <p:extLst>
      <p:ext uri="{BB962C8B-B14F-4D97-AF65-F5344CB8AC3E}">
        <p14:creationId xmlns:p14="http://schemas.microsoft.com/office/powerpoint/2010/main" val="30486038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ybersecurity is a need at all levels, from your tablet and smartphone up to the multinational corporation. The statistics are alarming:</a:t>
            </a:r>
          </a:p>
          <a:p>
            <a:endParaRPr lang="en-US" dirty="0"/>
          </a:p>
          <a:p>
            <a:r>
              <a:rPr lang="en-US" dirty="0"/>
              <a:t>According to Juniper Research, the cost of cyber crime is expected to be </a:t>
            </a:r>
            <a:r>
              <a:rPr lang="en-US" b="1" dirty="0"/>
              <a:t>$2 Trillion by 2019. </a:t>
            </a:r>
            <a:r>
              <a:rPr lang="en-US" dirty="0"/>
              <a:t>According to Microsoft, </a:t>
            </a:r>
            <a:r>
              <a:rPr lang="en-US" dirty="0">
                <a:hlinkClick r:id="rId3"/>
              </a:rPr>
              <a:t>20% of small to mid sized businesses have been cyber crime targets</a:t>
            </a:r>
            <a:r>
              <a:rPr lang="en-US" dirty="0"/>
              <a:t>.</a:t>
            </a:r>
          </a:p>
          <a:p>
            <a:endParaRPr lang="en-US" dirty="0"/>
          </a:p>
          <a:p>
            <a:endParaRPr lang="en-US" baseline="0" dirty="0"/>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10</a:t>
            </a:fld>
            <a:endParaRPr lang="en-US"/>
          </a:p>
        </p:txBody>
      </p:sp>
    </p:spTree>
    <p:extLst>
      <p:ext uri="{BB962C8B-B14F-4D97-AF65-F5344CB8AC3E}">
        <p14:creationId xmlns:p14="http://schemas.microsoft.com/office/powerpoint/2010/main" val="162211958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8.emf"/><Relationship Id="rId4" Type="http://schemas.openxmlformats.org/officeDocument/2006/relationships/oleObject" Target="../embeddings/oleObject1.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8.emf"/><Relationship Id="rId4" Type="http://schemas.openxmlformats.org/officeDocument/2006/relationships/oleObject" Target="../embeddings/oleObject2.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8.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8.emf"/><Relationship Id="rId4" Type="http://schemas.openxmlformats.org/officeDocument/2006/relationships/oleObject" Target="../embeddings/oleObject4.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8.emf"/><Relationship Id="rId4" Type="http://schemas.openxmlformats.org/officeDocument/2006/relationships/oleObject" Target="../embeddings/oleObject5.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28.emf"/><Relationship Id="rId4" Type="http://schemas.openxmlformats.org/officeDocument/2006/relationships/oleObject" Target="../embeddings/oleObject6.bin"/></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28.emf"/><Relationship Id="rId4" Type="http://schemas.openxmlformats.org/officeDocument/2006/relationships/oleObject" Target="../embeddings/oleObject7.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28.emf"/><Relationship Id="rId4" Type="http://schemas.openxmlformats.org/officeDocument/2006/relationships/oleObject" Target="../embeddings/oleObject8.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28.emf"/><Relationship Id="rId4" Type="http://schemas.openxmlformats.org/officeDocument/2006/relationships/oleObject" Target="../embeddings/oleObject9.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28.emf"/><Relationship Id="rId4" Type="http://schemas.openxmlformats.org/officeDocument/2006/relationships/oleObject" Target="../embeddings/oleObject10.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28.emf"/><Relationship Id="rId4" Type="http://schemas.openxmlformats.org/officeDocument/2006/relationships/oleObject" Target="../embeddings/oleObject11.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28.emf"/><Relationship Id="rId4" Type="http://schemas.openxmlformats.org/officeDocument/2006/relationships/oleObject" Target="../embeddings/oleObject12.bin"/></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eg"/><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eg"/><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eg"/><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eg"/><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eg"/><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eg"/><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eg"/><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eg"/><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eg"/><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13.xml"/></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Master" Target="../slideMasters/slideMaster13.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32038312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2268145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Transition pag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0" y="1"/>
            <a:ext cx="12218900" cy="6871063"/>
          </a:xfrm>
          <a:prstGeom prst="rect">
            <a:avLst/>
          </a:prstGeom>
        </p:spPr>
      </p:pic>
      <p:sp>
        <p:nvSpPr>
          <p:cNvPr id="3" name="Footer Placeholder 2"/>
          <p:cNvSpPr>
            <a:spLocks noGrp="1"/>
          </p:cNvSpPr>
          <p:nvPr>
            <p:ph type="ftr" sz="quarter" idx="10"/>
          </p:nvPr>
        </p:nvSpPr>
        <p:spPr/>
        <p:txBody>
          <a:bodyPr/>
          <a:lstStyle>
            <a:lvl1pPr>
              <a:defRPr>
                <a:solidFill>
                  <a:schemeClr val="bg1"/>
                </a:solidFill>
              </a:defRPr>
            </a:lvl1pPr>
          </a:lstStyle>
          <a:p>
            <a:endParaRPr lang="en-US" dirty="0">
              <a:solidFill>
                <a:prstClr val="white"/>
              </a:solidFill>
            </a:endParaRPr>
          </a:p>
        </p:txBody>
      </p:sp>
      <p:sp>
        <p:nvSpPr>
          <p:cNvPr id="6" name="Rectangle 5"/>
          <p:cNvSpPr/>
          <p:nvPr userDrawn="1"/>
        </p:nvSpPr>
        <p:spPr>
          <a:xfrm>
            <a:off x="274710" y="2582863"/>
            <a:ext cx="6911355" cy="3664420"/>
          </a:xfrm>
          <a:prstGeom prst="rect">
            <a:avLst/>
          </a:prstGeom>
          <a:solidFill>
            <a:srgbClr val="002050">
              <a:alpha val="8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4244" tIns="147395" rIns="184244" bIns="147395" rtlCol="0" anchor="t" anchorCtr="0"/>
          <a:lstStyle/>
          <a:p>
            <a:pPr defTabSz="1088105"/>
            <a:endParaRPr lang="en-US" sz="2400" dirty="0">
              <a:solidFill>
                <a:prstClr val="white"/>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FAADACFB-7C71-4E89-89D2-7BBA40B7BFA9}" type="slidenum">
              <a:rPr lang="en-US" smtClean="0">
                <a:solidFill>
                  <a:prstClr val="white"/>
                </a:solidFill>
              </a:rPr>
              <a:pPr/>
              <a:t>‹#›</a:t>
            </a:fld>
            <a:endParaRPr lang="en-US" dirty="0">
              <a:solidFill>
                <a:prstClr val="white"/>
              </a:solidFill>
            </a:endParaRPr>
          </a:p>
        </p:txBody>
      </p:sp>
      <p:sp>
        <p:nvSpPr>
          <p:cNvPr id="7" name="Title 1"/>
          <p:cNvSpPr>
            <a:spLocks noGrp="1"/>
          </p:cNvSpPr>
          <p:nvPr>
            <p:ph type="title" hasCustomPrompt="1"/>
          </p:nvPr>
        </p:nvSpPr>
        <p:spPr>
          <a:xfrm>
            <a:off x="274710" y="2591135"/>
            <a:ext cx="6911355" cy="1822989"/>
          </a:xfrm>
          <a:noFill/>
        </p:spPr>
        <p:txBody>
          <a:bodyPr lIns="137160" tIns="137160" rIns="137160" bIns="137160" anchor="t" anchorCtr="0">
            <a:normAutofit/>
          </a:bodyPr>
          <a:lstStyle>
            <a:lvl1pPr>
              <a:defRPr sz="5400" spc="-98" baseline="0">
                <a:solidFill>
                  <a:schemeClr val="bg1"/>
                </a:solidFill>
              </a:defRPr>
            </a:lvl1pPr>
          </a:lstStyle>
          <a:p>
            <a:r>
              <a:rPr lang="en-US" dirty="0"/>
              <a:t>Section title</a:t>
            </a:r>
          </a:p>
        </p:txBody>
      </p:sp>
      <p:sp>
        <p:nvSpPr>
          <p:cNvPr id="8" name="Text Placeholder 10"/>
          <p:cNvSpPr>
            <a:spLocks noGrp="1"/>
          </p:cNvSpPr>
          <p:nvPr>
            <p:ph type="body" sz="quarter" idx="14"/>
          </p:nvPr>
        </p:nvSpPr>
        <p:spPr>
          <a:xfrm>
            <a:off x="279243" y="3342118"/>
            <a:ext cx="5945148" cy="2590800"/>
          </a:xfrm>
          <a:prstGeom prst="rect">
            <a:avLst/>
          </a:prstGeom>
        </p:spPr>
        <p:txBody>
          <a:bodyPr lIns="137160" tIns="137160" rIns="137160" bIns="137160">
            <a:noAutofit/>
          </a:bodyPr>
          <a:lstStyle>
            <a:lvl1pPr marL="190428" indent="-190428">
              <a:lnSpc>
                <a:spcPct val="80000"/>
              </a:lnSpc>
              <a:buNone/>
              <a:defRPr lang="en-US" sz="2400" kern="1200" dirty="0">
                <a:solidFill>
                  <a:schemeClr val="bg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663717273"/>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5054" y="1320306"/>
            <a:ext cx="11890296" cy="1822989"/>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426227" y="2838296"/>
            <a:ext cx="5945148"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822958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5054" y="1320306"/>
            <a:ext cx="11890296" cy="1822989"/>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5" name="Text Placeholder 10"/>
          <p:cNvSpPr>
            <a:spLocks noGrp="1"/>
          </p:cNvSpPr>
          <p:nvPr>
            <p:ph type="body" sz="quarter" idx="14"/>
          </p:nvPr>
        </p:nvSpPr>
        <p:spPr>
          <a:xfrm>
            <a:off x="426227" y="2838296"/>
            <a:ext cx="5945148"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186120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2050"/>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5054" y="1320306"/>
            <a:ext cx="11890296" cy="1822989"/>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5" name="Text Placeholder 10"/>
          <p:cNvSpPr>
            <a:spLocks noGrp="1"/>
          </p:cNvSpPr>
          <p:nvPr>
            <p:ph type="body" sz="quarter" idx="14"/>
          </p:nvPr>
        </p:nvSpPr>
        <p:spPr>
          <a:xfrm>
            <a:off x="426227" y="2838296"/>
            <a:ext cx="5945148"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3545106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Microsoft logo 1">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814" y="3048000"/>
            <a:ext cx="2571405" cy="419108"/>
          </a:xfrm>
          <a:prstGeom prst="rect">
            <a:avLst/>
          </a:prstGeom>
        </p:spPr>
      </p:pic>
      <p:sp>
        <p:nvSpPr>
          <p:cNvPr id="4" name="Rectangle 3"/>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411502558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736714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0" y="6477874"/>
            <a:ext cx="8382000" cy="380127"/>
          </a:xfrm>
          <a:prstGeom prst="rect">
            <a:avLst/>
          </a:prstGeom>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10972" y="791867"/>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5676779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7163159"/>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921227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3"/>
          <p:cNvSpPr txBox="1">
            <a:spLocks/>
          </p:cNvSpPr>
          <p:nvPr userDrawn="1"/>
        </p:nvSpPr>
        <p:spPr>
          <a:xfrm>
            <a:off x="11742869" y="6496050"/>
            <a:ext cx="449131" cy="361950"/>
          </a:xfrm>
          <a:prstGeom prst="rect">
            <a:avLst/>
          </a:prstGeom>
        </p:spPr>
        <p:txBody>
          <a:bodyPr lIns="92556" tIns="46283" rIns="92556" bIns="46283"/>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07261">
              <a:defRPr/>
            </a:pPr>
            <a:fld id="{E5908F7E-4D1F-48E9-9898-4590CF20258C}" type="slidenum">
              <a:rPr lang="en-US" sz="1000" smtClean="0">
                <a:solidFill>
                  <a:prstClr val="black"/>
                </a:solidFill>
              </a:rPr>
              <a:pPr defTabSz="907261">
                <a:defRPr/>
              </a:pPr>
              <a:t>‹#›</a:t>
            </a:fld>
            <a:endParaRPr lang="en-US" sz="1000" dirty="0">
              <a:solidFill>
                <a:prstClr val="black"/>
              </a:solidFill>
            </a:endParaRPr>
          </a:p>
        </p:txBody>
      </p:sp>
    </p:spTree>
    <p:extLst>
      <p:ext uri="{BB962C8B-B14F-4D97-AF65-F5344CB8AC3E}">
        <p14:creationId xmlns:p14="http://schemas.microsoft.com/office/powerpoint/2010/main" val="332769473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0978199"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84313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4"/>
          </p:nvPr>
        </p:nvSpPr>
        <p:spPr>
          <a:xfrm>
            <a:off x="11633839" y="6457950"/>
            <a:ext cx="582481" cy="190308"/>
          </a:xfrm>
          <a:prstGeom prst="rect">
            <a:avLst/>
          </a:prstGeom>
        </p:spPr>
        <p:txBody>
          <a:bodyPr lIns="92556" tIns="46283" rIns="92556" bIns="46283"/>
          <a:lstStyle/>
          <a:p>
            <a:pPr defTabSz="907261"/>
            <a:fld id="{E5908F7E-4D1F-48E9-9898-4590CF20258C}" type="slidenum">
              <a:rPr lang="en-US" smtClean="0">
                <a:solidFill>
                  <a:srgbClr val="000000"/>
                </a:solidFill>
              </a:rPr>
              <a:pPr defTabSz="907261"/>
              <a:t>‹#›</a:t>
            </a:fld>
            <a:endParaRPr lang="en-US" dirty="0">
              <a:solidFill>
                <a:srgbClr val="000000"/>
              </a:solidFill>
            </a:endParaRPr>
          </a:p>
        </p:txBody>
      </p:sp>
    </p:spTree>
    <p:extLst>
      <p:ext uri="{BB962C8B-B14F-4D97-AF65-F5344CB8AC3E}">
        <p14:creationId xmlns:p14="http://schemas.microsoft.com/office/powerpoint/2010/main" val="210775524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21" y="471125"/>
            <a:ext cx="2507467" cy="537211"/>
          </a:xfrm>
          <a:prstGeom prst="rect">
            <a:avLst/>
          </a:prstGeom>
        </p:spPr>
      </p:pic>
    </p:spTree>
    <p:extLst>
      <p:ext uri="{BB962C8B-B14F-4D97-AF65-F5344CB8AC3E}">
        <p14:creationId xmlns:p14="http://schemas.microsoft.com/office/powerpoint/2010/main" val="665712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0" spc="-98" baseline="0">
                <a:gradFill>
                  <a:gsLst>
                    <a:gs pos="5833">
                      <a:srgbClr val="FFFFFF"/>
                    </a:gs>
                    <a:gs pos="18000">
                      <a:srgbClr val="FFFFFF"/>
                    </a:gs>
                  </a:gsLst>
                  <a:lin ang="5400000" scaled="0"/>
                </a:gradFill>
              </a:defRPr>
            </a:lvl1pPr>
          </a:lstStyle>
          <a:p>
            <a:r>
              <a:rPr lang="en-US" dirty="0"/>
              <a:t>Presenta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21" y="471125"/>
            <a:ext cx="2507467" cy="537211"/>
          </a:xfrm>
          <a:prstGeom prst="rect">
            <a:avLst/>
          </a:prstGeom>
        </p:spPr>
      </p:pic>
      <p:sp>
        <p:nvSpPr>
          <p:cNvPr id="5" name="Text Placeholder 4"/>
          <p:cNvSpPr>
            <a:spLocks noGrp="1"/>
          </p:cNvSpPr>
          <p:nvPr>
            <p:ph type="body" sz="quarter" idx="12" hasCustomPrompt="1"/>
          </p:nvPr>
        </p:nvSpPr>
        <p:spPr>
          <a:xfrm>
            <a:off x="269304" y="3878574"/>
            <a:ext cx="8964186" cy="1792326"/>
          </a:xfrm>
          <a:noFill/>
        </p:spPr>
        <p:txBody>
          <a:bodyPr lIns="146304" tIns="109728" rIns="146304" bIns="109728">
            <a:noAutofit/>
          </a:bodyPr>
          <a:lstStyle>
            <a:lvl1pPr marL="0" indent="0">
              <a:spcBef>
                <a:spcPts val="0"/>
              </a:spcBef>
              <a:buNone/>
              <a:defRPr sz="3527" spc="0" baseline="0">
                <a:gradFill>
                  <a:gsLst>
                    <a:gs pos="2917">
                      <a:srgbClr val="FFFFFF"/>
                    </a:gs>
                    <a:gs pos="3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758134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Slide 6">
    <p:spTree>
      <p:nvGrpSpPr>
        <p:cNvPr id="1" name=""/>
        <p:cNvGrpSpPr/>
        <p:nvPr/>
      </p:nvGrpSpPr>
      <p:grpSpPr>
        <a:xfrm>
          <a:off x="0" y="0"/>
          <a:ext cx="0" cy="0"/>
          <a:chOff x="0" y="0"/>
          <a:chExt cx="0" cy="0"/>
        </a:xfrm>
      </p:grpSpPr>
      <p:pic>
        <p:nvPicPr>
          <p:cNvPr id="8" name="Picture 3" descr="C:\Users\Sarah\Documents\_SSD_Business\Client_collateral\MICROSOFT_DVD_ART\MICROSOFT PHOTOS\From Matt\006_Canada_BDO_Steve Payne.jpg"/>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2"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41"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5" y="2082468"/>
            <a:ext cx="7172955" cy="1794808"/>
          </a:xfrm>
          <a:noFill/>
        </p:spPr>
        <p:txBody>
          <a:bodyPr lIns="146304" tIns="91440" rIns="146304" bIns="91440" anchor="t" anchorCtr="0"/>
          <a:lstStyle>
            <a:lvl1pPr>
              <a:defRPr sz="529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5" y="3869494"/>
            <a:ext cx="7172955" cy="1793104"/>
          </a:xfrm>
          <a:noFill/>
        </p:spPr>
        <p:txBody>
          <a:bodyPr tIns="109728" bIns="109728">
            <a:noAutofit/>
          </a:bodyPr>
          <a:lstStyle>
            <a:lvl1pPr marL="0" indent="0">
              <a:spcBef>
                <a:spcPts val="0"/>
              </a:spcBef>
              <a:buNone/>
              <a:defRPr sz="3135">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gray">
          <a:xfrm>
            <a:off x="449322" y="471127"/>
            <a:ext cx="1522404" cy="326166"/>
          </a:xfrm>
          <a:prstGeom prst="rect">
            <a:avLst/>
          </a:prstGeom>
        </p:spPr>
      </p:pic>
    </p:spTree>
    <p:extLst>
      <p:ext uri="{BB962C8B-B14F-4D97-AF65-F5344CB8AC3E}">
        <p14:creationId xmlns:p14="http://schemas.microsoft.com/office/powerpoint/2010/main" val="35120595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Title Slide 6">
    <p:spTree>
      <p:nvGrpSpPr>
        <p:cNvPr id="1" name=""/>
        <p:cNvGrpSpPr/>
        <p:nvPr/>
      </p:nvGrpSpPr>
      <p:grpSpPr>
        <a:xfrm>
          <a:off x="0" y="0"/>
          <a:ext cx="0" cy="0"/>
          <a:chOff x="0" y="0"/>
          <a:chExt cx="0" cy="0"/>
        </a:xfrm>
      </p:grpSpPr>
      <p:pic>
        <p:nvPicPr>
          <p:cNvPr id="11" name="Picture 2" descr="C:\Users\Sarah\Documents\_SSD_Business\Client_collateral\MICROSOFT_DVD_ART\MICROSOFT PHOTOS\Man.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41"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5" y="2082468"/>
            <a:ext cx="7172955" cy="1794808"/>
          </a:xfrm>
          <a:noFill/>
        </p:spPr>
        <p:txBody>
          <a:bodyPr lIns="146304" tIns="91440" rIns="146304" bIns="91440" anchor="t" anchorCtr="0"/>
          <a:lstStyle>
            <a:lvl1pPr>
              <a:defRPr sz="529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5" y="3869494"/>
            <a:ext cx="7172955" cy="1793104"/>
          </a:xfrm>
          <a:noFill/>
        </p:spPr>
        <p:txBody>
          <a:bodyPr tIns="109728" bIns="109728">
            <a:noAutofit/>
          </a:bodyPr>
          <a:lstStyle>
            <a:lvl1pPr marL="0" indent="0">
              <a:spcBef>
                <a:spcPts val="0"/>
              </a:spcBef>
              <a:buNone/>
              <a:defRPr sz="3135">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gray">
          <a:xfrm>
            <a:off x="449322" y="471127"/>
            <a:ext cx="1522404" cy="326166"/>
          </a:xfrm>
          <a:prstGeom prst="rect">
            <a:avLst/>
          </a:prstGeom>
        </p:spPr>
      </p:pic>
    </p:spTree>
    <p:extLst>
      <p:ext uri="{BB962C8B-B14F-4D97-AF65-F5344CB8AC3E}">
        <p14:creationId xmlns:p14="http://schemas.microsoft.com/office/powerpoint/2010/main" val="39794192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lide 8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9" y="0"/>
            <a:ext cx="12201147" cy="685800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4" y="2084186"/>
            <a:ext cx="7171399" cy="3586194"/>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41" y="2084173"/>
            <a:ext cx="7171399" cy="1793104"/>
          </a:xfrm>
          <a:noFill/>
        </p:spPr>
        <p:txBody>
          <a:bodyPr lIns="146304" tIns="91440" rIns="146304" bIns="91440" anchor="t" anchorCtr="0"/>
          <a:lstStyle>
            <a:lvl1pPr>
              <a:defRPr sz="5880"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41" y="3877276"/>
            <a:ext cx="7171399" cy="1794661"/>
          </a:xfrm>
          <a:noFill/>
        </p:spPr>
        <p:txBody>
          <a:bodyPr lIns="146304" tIns="109728" rIns="146304" bIns="109728">
            <a:noAutofit/>
          </a:bodyPr>
          <a:lstStyle>
            <a:lvl1pPr marL="0" indent="0">
              <a:spcBef>
                <a:spcPts val="0"/>
              </a:spcBef>
              <a:buNone/>
              <a:defRPr sz="3135"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64286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4" cy="1793881"/>
          </a:xfrm>
          <a:noFill/>
        </p:spPr>
        <p:txBody>
          <a:bodyPr lIns="182880" tIns="146304" rIns="182880" bIns="146304">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493824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9864730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0978199"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725607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663389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434328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14367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Section Title Accent Color 3">
    <p:bg>
      <p:bgPr>
        <a:solidFill>
          <a:schemeClr val="tx2">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51738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6">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8832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408004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958260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466058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064325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420188"/>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87497438"/>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420188"/>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4565556"/>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486578"/>
          </a:xfrm>
        </p:spPr>
        <p:txBody>
          <a:bodyPr wrap="square">
            <a:spAutoFit/>
          </a:bodyPr>
          <a:lstStyle>
            <a:lvl1pPr marL="281569" indent="-281569">
              <a:spcBef>
                <a:spcPts val="1200"/>
              </a:spcBef>
              <a:buClr>
                <a:schemeClr val="tx1"/>
              </a:buClr>
              <a:buFont typeface="Arial" pitchFamily="34" charset="0"/>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486578"/>
          </a:xfrm>
        </p:spPr>
        <p:txBody>
          <a:bodyPr wrap="square">
            <a:spAutoFit/>
          </a:bodyPr>
          <a:lstStyle>
            <a:lvl1pPr marL="281569" indent="-281569">
              <a:spcBef>
                <a:spcPts val="1200"/>
              </a:spcBef>
              <a:buClr>
                <a:schemeClr val="tx1"/>
              </a:buClr>
              <a:buFont typeface="Arial" pitchFamily="34" charset="0"/>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27750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901020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486578"/>
          </a:xfrm>
        </p:spPr>
        <p:txBody>
          <a:bodyPr wrap="square">
            <a:spAutoFit/>
          </a:bodyPr>
          <a:lstStyle>
            <a:lvl1pPr marL="281569" indent="-281569">
              <a:spcBef>
                <a:spcPts val="1200"/>
              </a:spcBef>
              <a:buClr>
                <a:schemeClr val="tx2"/>
              </a:buClr>
              <a:buFont typeface="Arial" pitchFamily="34" charset="0"/>
              <a:buChar char="•"/>
              <a:defRPr sz="3527">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486578"/>
          </a:xfrm>
        </p:spPr>
        <p:txBody>
          <a:bodyPr wrap="square">
            <a:spAutoFit/>
          </a:bodyPr>
          <a:lstStyle>
            <a:lvl1pPr marL="281569" indent="-281569">
              <a:spcBef>
                <a:spcPts val="1200"/>
              </a:spcBef>
              <a:buClr>
                <a:schemeClr val="tx2"/>
              </a:buClr>
              <a:buFont typeface="Arial" pitchFamily="34" charset="0"/>
              <a:buChar char="•"/>
              <a:defRPr sz="3527">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5516258"/>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982570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765349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81211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accent3">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08279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43327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2">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60447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6">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9568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751"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Segoe UI" pitchFamily="34" charset="0"/>
                <a:cs typeface="Segoe UI" pitchFamily="34" charset="0"/>
              </a:defRPr>
            </a:lvl1pPr>
            <a:lvl2pPr marL="339596" indent="0">
              <a:buNone/>
              <a:defRPr>
                <a:gradFill>
                  <a:gsLst>
                    <a:gs pos="1250">
                      <a:srgbClr val="000000"/>
                    </a:gs>
                    <a:gs pos="100000">
                      <a:srgbClr val="000000"/>
                    </a:gs>
                  </a:gsLst>
                  <a:lin ang="5400000" scaled="0"/>
                </a:gradFill>
                <a:latin typeface="Segoe UI" pitchFamily="34" charset="0"/>
                <a:cs typeface="Segoe UI" pitchFamily="34" charset="0"/>
              </a:defRPr>
            </a:lvl2pPr>
            <a:lvl3pPr marL="572869"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08"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896"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7252844"/>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918283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79371547"/>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Big Idea on Blue">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277021" y="2106293"/>
            <a:ext cx="11655840" cy="2840637"/>
          </a:xfrm>
        </p:spPr>
        <p:txBody>
          <a:bodyPr anchor="ctr"/>
          <a:lstStyle>
            <a:lvl1pPr algn="l">
              <a:defRPr sz="8626" baseline="0">
                <a:gradFill>
                  <a:gsLst>
                    <a:gs pos="13139">
                      <a:srgbClr val="FFFFFF"/>
                    </a:gs>
                    <a:gs pos="45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340959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1_Section Title Light Purple">
    <p:bg>
      <p:bgPr>
        <a:solidFill>
          <a:schemeClr val="accent3">
            <a:lumMod val="75000"/>
          </a:schemeClr>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40" y="2084173"/>
            <a:ext cx="11653523" cy="2574423"/>
          </a:xfrm>
        </p:spPr>
        <p:txBody>
          <a:bodyPr anchor="t" anchorCtr="0">
            <a:spAutoFit/>
          </a:bodyPr>
          <a:lstStyle>
            <a:lvl1pPr>
              <a:defRPr sz="8626">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205052093"/>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2_Section Title Light Purple">
    <p:bg>
      <p:bgPr>
        <a:solidFill>
          <a:schemeClr val="accent3"/>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40" y="2084173"/>
            <a:ext cx="11653523" cy="2574423"/>
          </a:xfrm>
        </p:spPr>
        <p:txBody>
          <a:bodyPr anchor="t" anchorCtr="0">
            <a:spAutoFit/>
          </a:bodyPr>
          <a:lstStyle>
            <a:lvl1pPr>
              <a:defRPr sz="8626">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8205082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3_Section Title Light Purple">
    <p:bg>
      <p:bgPr>
        <a:solidFill>
          <a:schemeClr val="bg2">
            <a:lumMod val="75000"/>
          </a:schemeClr>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40" y="2084173"/>
            <a:ext cx="11653523" cy="2574423"/>
          </a:xfrm>
        </p:spPr>
        <p:txBody>
          <a:bodyPr anchor="t" anchorCtr="0">
            <a:spAutoFit/>
          </a:bodyPr>
          <a:lstStyle>
            <a:lvl1pPr>
              <a:defRPr sz="8626">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674430822"/>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2_Section Title Purple">
    <p:bg>
      <p:bgPr>
        <a:solidFill>
          <a:schemeClr val="accent6">
            <a:lumMod val="75000"/>
          </a:schemeClr>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40" y="2084173"/>
            <a:ext cx="11653523" cy="2574423"/>
          </a:xfrm>
        </p:spPr>
        <p:txBody>
          <a:bodyPr anchor="t" anchorCtr="0">
            <a:spAutoFit/>
          </a:bodyPr>
          <a:lstStyle>
            <a:lvl1pPr>
              <a:defRPr sz="8626">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409827973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1_End Slide">
    <p:bg>
      <p:bgPr>
        <a:solidFill>
          <a:schemeClr val="accent3">
            <a:lumMod val="50000"/>
          </a:schemeClr>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51540" y="3078166"/>
            <a:ext cx="3223861" cy="690695"/>
          </a:xfrm>
          <a:prstGeom prst="rect">
            <a:avLst/>
          </a:prstGeom>
        </p:spPr>
      </p:pic>
      <p:sp>
        <p:nvSpPr>
          <p:cNvPr id="4" name="Text Box 3"/>
          <p:cNvSpPr txBox="1">
            <a:spLocks noChangeArrowheads="1"/>
          </p:cNvSpPr>
          <p:nvPr userDrawn="1"/>
        </p:nvSpPr>
        <p:spPr bwMode="blackWhite">
          <a:xfrm>
            <a:off x="267683" y="5960378"/>
            <a:ext cx="10758655" cy="612823"/>
          </a:xfrm>
          <a:prstGeom prst="rect">
            <a:avLst/>
          </a:prstGeom>
        </p:spPr>
        <p:txBody>
          <a:bodyPr vert="horz" wrap="square" lIns="179259" tIns="143407" rIns="179259" bIns="143407" numCol="1" anchor="t" anchorCtr="0" compatLnSpc="1">
            <a:prstTxWarp prst="textNoShape">
              <a:avLst/>
            </a:prstTxWarp>
            <a:spAutoFit/>
          </a:bodyPr>
          <a:lstStyle/>
          <a:p>
            <a:pPr defTabSz="913748" eaLnBrk="0" fontAlgn="base" hangingPunct="0"/>
            <a:r>
              <a:rPr lang="en-US" sz="686" dirty="0">
                <a:solidFill>
                  <a:srgbClr val="FFFFFF"/>
                </a:solidFill>
                <a:cs typeface="Segoe UI" pitchFamily="34" charset="0"/>
              </a:rPr>
              <a:t>© 2015 Microsoft Corporation. All rights reserved. Microsoft, Windows, and other product names are or may be registered trademarks and/or trademarks in the U.S. and/or other countries.</a:t>
            </a:r>
          </a:p>
          <a:p>
            <a:pPr defTabSz="913748" eaLnBrk="0" fontAlgn="base" hangingPunct="0"/>
            <a:r>
              <a:rPr lang="en-US" sz="686" dirty="0">
                <a:solidFill>
                  <a:srgbClr val="FFFFFF"/>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592286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50204" y="3083654"/>
            <a:ext cx="3223868" cy="690695"/>
          </a:xfrm>
          <a:prstGeom prst="rect">
            <a:avLst/>
          </a:prstGeom>
        </p:spPr>
      </p:pic>
      <p:sp>
        <p:nvSpPr>
          <p:cNvPr id="4" name="Text Box 3"/>
          <p:cNvSpPr txBox="1">
            <a:spLocks noChangeArrowheads="1"/>
          </p:cNvSpPr>
          <p:nvPr userDrawn="1"/>
        </p:nvSpPr>
        <p:spPr bwMode="blackWhite">
          <a:xfrm>
            <a:off x="267683" y="5960378"/>
            <a:ext cx="10758655" cy="612823"/>
          </a:xfrm>
          <a:prstGeom prst="rect">
            <a:avLst/>
          </a:prstGeom>
        </p:spPr>
        <p:txBody>
          <a:bodyPr vert="horz" wrap="square" lIns="179259" tIns="143407" rIns="179259" bIns="143407" numCol="1" anchor="t" anchorCtr="0" compatLnSpc="1">
            <a:prstTxWarp prst="textNoShape">
              <a:avLst/>
            </a:prstTxWarp>
            <a:spAutoFit/>
          </a:bodyPr>
          <a:lstStyle/>
          <a:p>
            <a:pPr defTabSz="913748" eaLnBrk="0" fontAlgn="base" hangingPunct="0"/>
            <a:r>
              <a:rPr lang="en-US" sz="686" dirty="0">
                <a:gradFill>
                  <a:gsLst>
                    <a:gs pos="0">
                      <a:srgbClr val="505050"/>
                    </a:gs>
                    <a:gs pos="100000">
                      <a:srgbClr val="505050"/>
                    </a:gs>
                  </a:gsLst>
                  <a:lin ang="5400000" scaled="0"/>
                </a:gradFill>
                <a:cs typeface="Segoe UI" pitchFamily="34" charset="0"/>
              </a:rPr>
              <a:t>© 2015 Microsoft Corporation. All rights reserved. Microsoft, Windows, and other product names are or may be registered trademarks and/or trademarks in the U.S. and/or other countries.</a:t>
            </a:r>
          </a:p>
          <a:p>
            <a:pPr defTabSz="913748" eaLnBrk="0" fontAlgn="base" hangingPunct="0"/>
            <a:r>
              <a:rPr lang="en-US" sz="686" dirty="0">
                <a:gradFill>
                  <a:gsLst>
                    <a:gs pos="0">
                      <a:srgbClr val="505050"/>
                    </a:gs>
                    <a:gs pos="100000">
                      <a:srgbClr val="505050"/>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45016400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4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8"/>
            <a:ext cx="10989732" cy="483402"/>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874950275"/>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3">
            <a:lumMod val="7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10" name="Subtitle 2"/>
          <p:cNvSpPr>
            <a:spLocks noGrp="1"/>
          </p:cNvSpPr>
          <p:nvPr>
            <p:ph type="subTitle" idx="1" hasCustomPrompt="1"/>
          </p:nvPr>
        </p:nvSpPr>
        <p:spPr>
          <a:xfrm>
            <a:off x="591641" y="3877278"/>
            <a:ext cx="10989732" cy="483402"/>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293108180"/>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49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10" name="Subtitle 2"/>
          <p:cNvSpPr>
            <a:spLocks noGrp="1"/>
          </p:cNvSpPr>
          <p:nvPr>
            <p:ph type="subTitle" idx="1" hasCustomPrompt="1"/>
          </p:nvPr>
        </p:nvSpPr>
        <p:spPr>
          <a:xfrm>
            <a:off x="591641" y="3877278"/>
            <a:ext cx="10989732" cy="483402"/>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411525716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1331178"/>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bg2">
            <a:lumMod val="7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5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10" name="Subtitle 2"/>
          <p:cNvSpPr>
            <a:spLocks noGrp="1"/>
          </p:cNvSpPr>
          <p:nvPr>
            <p:ph type="subTitle" idx="1" hasCustomPrompt="1"/>
          </p:nvPr>
        </p:nvSpPr>
        <p:spPr>
          <a:xfrm>
            <a:off x="591641" y="3877278"/>
            <a:ext cx="10989732" cy="483402"/>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19573600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6">
            <a:lumMod val="7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54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10" name="Subtitle 2"/>
          <p:cNvSpPr>
            <a:spLocks noGrp="1"/>
          </p:cNvSpPr>
          <p:nvPr>
            <p:ph type="subTitle" idx="1" hasCustomPrompt="1"/>
          </p:nvPr>
        </p:nvSpPr>
        <p:spPr>
          <a:xfrm>
            <a:off x="591641" y="3877278"/>
            <a:ext cx="10989732" cy="483402"/>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39116893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5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10" name="Subtitle 2"/>
          <p:cNvSpPr>
            <a:spLocks noGrp="1"/>
          </p:cNvSpPr>
          <p:nvPr>
            <p:ph type="subTitle" idx="1" hasCustomPrompt="1"/>
          </p:nvPr>
        </p:nvSpPr>
        <p:spPr>
          <a:xfrm>
            <a:off x="591641" y="3877278"/>
            <a:ext cx="10989732" cy="483402"/>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847860184"/>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310421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20" y="471124"/>
            <a:ext cx="2507467" cy="537211"/>
          </a:xfrm>
          <a:prstGeom prst="rect">
            <a:avLst/>
          </a:prstGeom>
        </p:spPr>
      </p:pic>
    </p:spTree>
    <p:extLst>
      <p:ext uri="{BB962C8B-B14F-4D97-AF65-F5344CB8AC3E}">
        <p14:creationId xmlns:p14="http://schemas.microsoft.com/office/powerpoint/2010/main" val="15639410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a:t>Presenta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20" y="471124"/>
            <a:ext cx="2507467" cy="537211"/>
          </a:xfrm>
          <a:prstGeom prst="rect">
            <a:avLst/>
          </a:prstGeom>
        </p:spPr>
      </p:pic>
      <p:sp>
        <p:nvSpPr>
          <p:cNvPr id="5" name="Text Placeholder 4"/>
          <p:cNvSpPr>
            <a:spLocks noGrp="1"/>
          </p:cNvSpPr>
          <p:nvPr>
            <p:ph type="body" sz="quarter" idx="12" hasCustomPrompt="1"/>
          </p:nvPr>
        </p:nvSpPr>
        <p:spPr>
          <a:xfrm>
            <a:off x="269303" y="3878574"/>
            <a:ext cx="8964186" cy="1792326"/>
          </a:xfrm>
          <a:noFill/>
        </p:spPr>
        <p:txBody>
          <a:bodyPr lIns="146304" tIns="109728" rIns="146304" bIns="109728">
            <a:noAutofit/>
          </a:bodyPr>
          <a:lstStyle>
            <a:lvl1pPr marL="0" indent="0">
              <a:spcBef>
                <a:spcPts val="0"/>
              </a:spcBef>
              <a:buNone/>
              <a:defRPr sz="3528" spc="0" baseline="0">
                <a:gradFill>
                  <a:gsLst>
                    <a:gs pos="2917">
                      <a:srgbClr val="FFFFFF"/>
                    </a:gs>
                    <a:gs pos="3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31986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Title Slide 6">
    <p:spTree>
      <p:nvGrpSpPr>
        <p:cNvPr id="1" name=""/>
        <p:cNvGrpSpPr/>
        <p:nvPr/>
      </p:nvGrpSpPr>
      <p:grpSpPr>
        <a:xfrm>
          <a:off x="0" y="0"/>
          <a:ext cx="0" cy="0"/>
          <a:chOff x="0" y="0"/>
          <a:chExt cx="0" cy="0"/>
        </a:xfrm>
      </p:grpSpPr>
      <p:pic>
        <p:nvPicPr>
          <p:cNvPr id="8" name="Picture 3" descr="C:\Users\Sarah\Documents\_SSD_Business\Client_collateral\MICROSOFT_DVD_ART\MICROSOFT PHOTOS\From Matt\006_Canada_BDO_Steve Payne.jpg"/>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40"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4" y="2082468"/>
            <a:ext cx="7172955" cy="1794808"/>
          </a:xfrm>
          <a:noFill/>
        </p:spPr>
        <p:txBody>
          <a:bodyPr lIns="146304" tIns="91440" rIns="146304" bIns="91440" anchor="t" anchorCtr="0"/>
          <a:lstStyle>
            <a:lvl1pPr>
              <a:defRPr sz="5293"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4" y="3869494"/>
            <a:ext cx="7172955" cy="1793104"/>
          </a:xfrm>
          <a:noFill/>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gray">
          <a:xfrm>
            <a:off x="449322" y="471126"/>
            <a:ext cx="1522404" cy="326166"/>
          </a:xfrm>
          <a:prstGeom prst="rect">
            <a:avLst/>
          </a:prstGeom>
        </p:spPr>
      </p:pic>
    </p:spTree>
    <p:extLst>
      <p:ext uri="{BB962C8B-B14F-4D97-AF65-F5344CB8AC3E}">
        <p14:creationId xmlns:p14="http://schemas.microsoft.com/office/powerpoint/2010/main" val="10527501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_Title Slide 6">
    <p:spTree>
      <p:nvGrpSpPr>
        <p:cNvPr id="1" name=""/>
        <p:cNvGrpSpPr/>
        <p:nvPr/>
      </p:nvGrpSpPr>
      <p:grpSpPr>
        <a:xfrm>
          <a:off x="0" y="0"/>
          <a:ext cx="0" cy="0"/>
          <a:chOff x="0" y="0"/>
          <a:chExt cx="0" cy="0"/>
        </a:xfrm>
      </p:grpSpPr>
      <p:pic>
        <p:nvPicPr>
          <p:cNvPr id="11" name="Picture 2" descr="C:\Users\Sarah\Documents\_SSD_Business\Client_collateral\MICROSOFT_DVD_ART\MICROSOFT PHOTOS\Man.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40"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4" y="2082468"/>
            <a:ext cx="7172955" cy="1794808"/>
          </a:xfrm>
          <a:noFill/>
        </p:spPr>
        <p:txBody>
          <a:bodyPr lIns="146304" tIns="91440" rIns="146304" bIns="91440" anchor="t" anchorCtr="0"/>
          <a:lstStyle>
            <a:lvl1pPr>
              <a:defRPr sz="5293"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4" y="3869494"/>
            <a:ext cx="7172955" cy="1793104"/>
          </a:xfrm>
          <a:noFill/>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gray">
          <a:xfrm>
            <a:off x="449322" y="471126"/>
            <a:ext cx="1522404" cy="326166"/>
          </a:xfrm>
          <a:prstGeom prst="rect">
            <a:avLst/>
          </a:prstGeom>
        </p:spPr>
      </p:pic>
    </p:spTree>
    <p:extLst>
      <p:ext uri="{BB962C8B-B14F-4D97-AF65-F5344CB8AC3E}">
        <p14:creationId xmlns:p14="http://schemas.microsoft.com/office/powerpoint/2010/main" val="20118136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lide 8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8" y="0"/>
            <a:ext cx="12201147" cy="685800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3" y="2084186"/>
            <a:ext cx="7171399" cy="3586194"/>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40" y="2084173"/>
            <a:ext cx="7171399" cy="1793104"/>
          </a:xfrm>
          <a:noFill/>
        </p:spPr>
        <p:txBody>
          <a:bodyPr lIns="146304" tIns="91440" rIns="146304" bIns="91440" anchor="t" anchorCtr="0"/>
          <a:lstStyle>
            <a:lvl1pPr>
              <a:defRPr sz="5881"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40" y="3877276"/>
            <a:ext cx="7171399" cy="1794661"/>
          </a:xfrm>
          <a:noFill/>
        </p:spPr>
        <p:txBody>
          <a:bodyPr lIns="146304" tIns="109728" rIns="146304" bIns="109728">
            <a:noAutofit/>
          </a:bodyPr>
          <a:lstStyle>
            <a:lvl1pPr marL="0" indent="0">
              <a:spcBef>
                <a:spcPts val="0"/>
              </a:spcBef>
              <a:buNone/>
              <a:defRPr sz="3136"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2537386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450335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8209126"/>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9453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0978199"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5345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806708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89605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_Section Title Accent Color 3">
    <p:bg>
      <p:bgPr>
        <a:solidFill>
          <a:schemeClr val="tx2">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15622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6">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57369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61298352"/>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111518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8194999"/>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994147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3446151"/>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7970965"/>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3042494"/>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623" indent="-281623">
              <a:spcBef>
                <a:spcPts val="1200"/>
              </a:spcBef>
              <a:buClr>
                <a:schemeClr val="tx1"/>
              </a:buClr>
              <a:buFont typeface="Arial" pitchFamily="34" charset="0"/>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281623" indent="-281623">
              <a:spcBef>
                <a:spcPts val="1200"/>
              </a:spcBef>
              <a:buClr>
                <a:schemeClr val="tx1"/>
              </a:buClr>
              <a:buFont typeface="Arial" pitchFamily="34" charset="0"/>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9963062"/>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623" indent="-281623">
              <a:spcBef>
                <a:spcPts val="1200"/>
              </a:spcBef>
              <a:buClr>
                <a:schemeClr val="tx2"/>
              </a:buClr>
              <a:buFont typeface="Arial" pitchFamily="34" charset="0"/>
              <a:buChar char="•"/>
              <a:defRPr sz="3528">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281623" indent="-281623">
              <a:spcBef>
                <a:spcPts val="1200"/>
              </a:spcBef>
              <a:buClr>
                <a:schemeClr val="tx2"/>
              </a:buClr>
              <a:buFont typeface="Arial" pitchFamily="34" charset="0"/>
              <a:buChar char="•"/>
              <a:defRPr sz="3528">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245485"/>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943286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8246155"/>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025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accent3">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4033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0745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2">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62919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9003440"/>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6">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86137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61"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79" indent="0">
              <a:buNone/>
              <a:defRPr>
                <a:gradFill>
                  <a:gsLst>
                    <a:gs pos="1250">
                      <a:srgbClr val="000000"/>
                    </a:gs>
                    <a:gs pos="100000">
                      <a:srgbClr val="000000"/>
                    </a:gs>
                  </a:gsLst>
                  <a:lin ang="5400000" scaled="0"/>
                </a:gradFill>
                <a:latin typeface="Segoe UI" pitchFamily="34" charset="0"/>
                <a:cs typeface="Segoe UI" pitchFamily="34" charset="0"/>
              </a:defRPr>
            </a:lvl3pPr>
            <a:lvl4pPr marL="798362"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94"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6517174"/>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94448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Big Idea on Blue">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277021" y="2106292"/>
            <a:ext cx="11655840" cy="2840637"/>
          </a:xfrm>
        </p:spPr>
        <p:txBody>
          <a:bodyPr anchor="ctr"/>
          <a:lstStyle>
            <a:lvl1pPr algn="l">
              <a:defRPr sz="8627" baseline="0">
                <a:gradFill>
                  <a:gsLst>
                    <a:gs pos="13139">
                      <a:srgbClr val="FFFFFF"/>
                    </a:gs>
                    <a:gs pos="45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0100401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1_Section Title Light Purple">
    <p:bg>
      <p:bgPr>
        <a:solidFill>
          <a:schemeClr val="accent3">
            <a:lumMod val="75000"/>
          </a:schemeClr>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39" y="2084172"/>
            <a:ext cx="11653523" cy="2574423"/>
          </a:xfrm>
        </p:spPr>
        <p:txBody>
          <a:bodyPr anchor="t" anchorCtr="0">
            <a:spAutoFit/>
          </a:bodyPr>
          <a:lstStyle>
            <a:lvl1pPr>
              <a:defRPr sz="8627">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4007348039"/>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2_Section Title Light Purple">
    <p:bg>
      <p:bgPr>
        <a:solidFill>
          <a:schemeClr val="accent3"/>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39" y="2084172"/>
            <a:ext cx="11653523" cy="2574423"/>
          </a:xfrm>
        </p:spPr>
        <p:txBody>
          <a:bodyPr anchor="t" anchorCtr="0">
            <a:spAutoFit/>
          </a:bodyPr>
          <a:lstStyle>
            <a:lvl1pPr>
              <a:defRPr sz="8627">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022023982"/>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3_Section Title Light Purple">
    <p:bg>
      <p:bgPr>
        <a:solidFill>
          <a:schemeClr val="bg2">
            <a:lumMod val="75000"/>
          </a:schemeClr>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39" y="2084172"/>
            <a:ext cx="11653523" cy="2574423"/>
          </a:xfrm>
        </p:spPr>
        <p:txBody>
          <a:bodyPr anchor="t" anchorCtr="0">
            <a:spAutoFit/>
          </a:bodyPr>
          <a:lstStyle>
            <a:lvl1pPr>
              <a:defRPr sz="8627">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652653526"/>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2_Section Title Purple">
    <p:bg>
      <p:bgPr>
        <a:solidFill>
          <a:schemeClr val="accent6">
            <a:lumMod val="75000"/>
          </a:schemeClr>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39" y="2084172"/>
            <a:ext cx="11653523" cy="2574423"/>
          </a:xfrm>
        </p:spPr>
        <p:txBody>
          <a:bodyPr anchor="t" anchorCtr="0">
            <a:spAutoFit/>
          </a:bodyPr>
          <a:lstStyle>
            <a:lvl1pPr>
              <a:defRPr sz="8627">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558207670"/>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1_End Slide">
    <p:bg>
      <p:bgPr>
        <a:solidFill>
          <a:schemeClr val="accent3">
            <a:lumMod val="50000"/>
          </a:schemeClr>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51539" y="3078165"/>
            <a:ext cx="3223861" cy="690695"/>
          </a:xfrm>
          <a:prstGeom prst="rect">
            <a:avLst/>
          </a:prstGeom>
        </p:spPr>
      </p:pic>
      <p:sp>
        <p:nvSpPr>
          <p:cNvPr id="4" name="Text Box 3"/>
          <p:cNvSpPr txBox="1">
            <a:spLocks noChangeArrowheads="1"/>
          </p:cNvSpPr>
          <p:nvPr userDrawn="1"/>
        </p:nvSpPr>
        <p:spPr bwMode="blackWhite">
          <a:xfrm>
            <a:off x="267683" y="5960377"/>
            <a:ext cx="10758655" cy="606556"/>
          </a:xfrm>
          <a:prstGeom prst="rect">
            <a:avLst/>
          </a:prstGeom>
        </p:spPr>
        <p:txBody>
          <a:bodyPr vert="horz" wrap="square" lIns="179285" tIns="143428" rIns="179285" bIns="143428" numCol="1" anchor="t" anchorCtr="0" compatLnSpc="1">
            <a:prstTxWarp prst="textNoShape">
              <a:avLst/>
            </a:prstTxWarp>
            <a:spAutoFit/>
          </a:bodyPr>
          <a:lstStyle/>
          <a:p>
            <a:pPr defTabSz="913924" eaLnBrk="0" fontAlgn="base" hangingPunct="0"/>
            <a:r>
              <a:rPr lang="en-US" sz="686" dirty="0">
                <a:solidFill>
                  <a:srgbClr val="FFFFFF"/>
                </a:solidFill>
                <a:cs typeface="Segoe UI" pitchFamily="34" charset="0"/>
              </a:rPr>
              <a:t>© 2015 Microsoft Corporation. All rights reserved. Microsoft, Windows, and other product names are or may be registered trademarks and/or trademarks in the U.S. and/or other countries.</a:t>
            </a:r>
          </a:p>
          <a:p>
            <a:pPr defTabSz="913924" eaLnBrk="0" fontAlgn="base" hangingPunct="0"/>
            <a:r>
              <a:rPr lang="en-US" sz="686" dirty="0">
                <a:solidFill>
                  <a:srgbClr val="FFFFFF"/>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853225489"/>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50203" y="3083653"/>
            <a:ext cx="3223868" cy="690695"/>
          </a:xfrm>
          <a:prstGeom prst="rect">
            <a:avLst/>
          </a:prstGeom>
        </p:spPr>
      </p:pic>
      <p:sp>
        <p:nvSpPr>
          <p:cNvPr id="4" name="Text Box 3"/>
          <p:cNvSpPr txBox="1">
            <a:spLocks noChangeArrowheads="1"/>
          </p:cNvSpPr>
          <p:nvPr userDrawn="1"/>
        </p:nvSpPr>
        <p:spPr bwMode="blackWhite">
          <a:xfrm>
            <a:off x="267683" y="5960377"/>
            <a:ext cx="10758655" cy="606556"/>
          </a:xfrm>
          <a:prstGeom prst="rect">
            <a:avLst/>
          </a:prstGeom>
        </p:spPr>
        <p:txBody>
          <a:bodyPr vert="horz" wrap="square" lIns="179285" tIns="143428" rIns="179285" bIns="143428" numCol="1" anchor="t" anchorCtr="0" compatLnSpc="1">
            <a:prstTxWarp prst="textNoShape">
              <a:avLst/>
            </a:prstTxWarp>
            <a:spAutoFit/>
          </a:bodyPr>
          <a:lstStyle/>
          <a:p>
            <a:pPr defTabSz="913924" eaLnBrk="0" fontAlgn="base" hangingPunct="0"/>
            <a:r>
              <a:rPr lang="en-US" sz="686" dirty="0">
                <a:gradFill>
                  <a:gsLst>
                    <a:gs pos="0">
                      <a:srgbClr val="505050"/>
                    </a:gs>
                    <a:gs pos="100000">
                      <a:srgbClr val="505050"/>
                    </a:gs>
                  </a:gsLst>
                  <a:lin ang="5400000" scaled="0"/>
                </a:gradFill>
                <a:cs typeface="Segoe UI" pitchFamily="34" charset="0"/>
              </a:rPr>
              <a:t>© 2015 Microsoft Corporation. All rights reserved. Microsoft, Windows, and other product names are or may be registered trademarks and/or trademarks in the U.S. and/or other countries.</a:t>
            </a:r>
          </a:p>
          <a:p>
            <a:pPr defTabSz="913924" eaLnBrk="0" fontAlgn="base" hangingPunct="0"/>
            <a:r>
              <a:rPr lang="en-US" sz="686" dirty="0">
                <a:gradFill>
                  <a:gsLst>
                    <a:gs pos="0">
                      <a:srgbClr val="505050"/>
                    </a:gs>
                    <a:gs pos="100000">
                      <a:srgbClr val="505050"/>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55248177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799496"/>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58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272147236"/>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3">
            <a:lumMod val="7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61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912506201"/>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6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616886135"/>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bg2">
            <a:lumMod val="7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6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34159930"/>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6">
            <a:lumMod val="7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6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920355922"/>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7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42400721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3464404"/>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2"/>
            <a:ext cx="6276530" cy="875413"/>
          </a:xfrm>
          <a:noFill/>
        </p:spPr>
        <p:txBody>
          <a:bodyPr lIns="146304" tIns="91440" rIns="146304" bIns="91440" anchor="t" anchorCtr="0"/>
          <a:lstStyle>
            <a:lvl1pPr>
              <a:defRPr sz="5294"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6"/>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2557405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1745422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1958101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19" y="471123"/>
            <a:ext cx="2507467" cy="537211"/>
          </a:xfrm>
          <a:prstGeom prst="rect">
            <a:avLst/>
          </a:prstGeom>
        </p:spPr>
      </p:pic>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76403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9655091"/>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18440600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38768147"/>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9447598"/>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15426680"/>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9207580"/>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7623562"/>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37207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9882158"/>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1281675"/>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7809007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2261820"/>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87710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2740034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27345665"/>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3597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80523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59750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5880555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6851049"/>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4140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036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734157"/>
          </a:xfrm>
        </p:spPr>
        <p:txBody>
          <a:bodyPr/>
          <a:lstStyle>
            <a:lvl1pPr>
              <a:defRPr sz="4000">
                <a:solidFill>
                  <a:schemeClr val="tx2"/>
                </a:solidFill>
              </a:defRPr>
            </a:lvl1pPr>
          </a:lstStyle>
          <a:p>
            <a:r>
              <a:rPr lang="en-US" dirty="0"/>
              <a:t>Click to edit Master title style</a:t>
            </a:r>
          </a:p>
        </p:txBody>
      </p:sp>
      <p:sp>
        <p:nvSpPr>
          <p:cNvPr id="4" name="Text Placeholder 3"/>
          <p:cNvSpPr>
            <a:spLocks noGrp="1"/>
          </p:cNvSpPr>
          <p:nvPr>
            <p:ph type="body" sz="quarter" idx="10"/>
          </p:nvPr>
        </p:nvSpPr>
        <p:spPr>
          <a:xfrm>
            <a:off x="269240" y="854739"/>
            <a:ext cx="11655425" cy="572464"/>
          </a:xfrm>
        </p:spPr>
        <p:txBody>
          <a:bodyPr/>
          <a:lstStyle>
            <a:lvl1pPr marL="0" indent="0">
              <a:buNone/>
              <a:defRPr sz="2800">
                <a:solidFill>
                  <a:schemeClr val="accent1"/>
                </a:solidFill>
              </a:defRPr>
            </a:lvl1pPr>
            <a:lvl2pPr marL="336145" indent="0">
              <a:buNone/>
              <a:defRPr sz="2800">
                <a:solidFill>
                  <a:schemeClr val="accent1"/>
                </a:solidFill>
              </a:defRPr>
            </a:lvl2pPr>
            <a:lvl3pPr marL="560241" indent="0">
              <a:buNone/>
              <a:defRPr sz="2800">
                <a:solidFill>
                  <a:schemeClr val="accent1"/>
                </a:solidFill>
              </a:defRPr>
            </a:lvl3pPr>
            <a:lvl4pPr marL="784338" indent="0">
              <a:buNone/>
              <a:defRPr sz="2800">
                <a:solidFill>
                  <a:schemeClr val="accent1"/>
                </a:solidFill>
              </a:defRPr>
            </a:lvl4pPr>
            <a:lvl5pPr marL="1008434" indent="0">
              <a:buNone/>
              <a:defRPr sz="2800">
                <a:solidFill>
                  <a:schemeClr val="accent1"/>
                </a:solidFill>
              </a:defRPr>
            </a:lvl5pPr>
          </a:lstStyle>
          <a:p>
            <a:pPr lvl="0"/>
            <a:r>
              <a:rPr lang="en-US" dirty="0"/>
              <a:t>Click to edit Master text styles</a:t>
            </a:r>
          </a:p>
        </p:txBody>
      </p:sp>
    </p:spTree>
    <p:extLst>
      <p:ext uri="{BB962C8B-B14F-4D97-AF65-F5344CB8AC3E}">
        <p14:creationId xmlns:p14="http://schemas.microsoft.com/office/powerpoint/2010/main" val="185517644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61467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3474761"/>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Tree>
    <p:extLst>
      <p:ext uri="{BB962C8B-B14F-4D97-AF65-F5344CB8AC3E}">
        <p14:creationId xmlns:p14="http://schemas.microsoft.com/office/powerpoint/2010/main" val="112846698"/>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17380041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632677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395905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19" y="471123"/>
            <a:ext cx="2507467" cy="537211"/>
          </a:xfrm>
          <a:prstGeom prst="rect">
            <a:avLst/>
          </a:prstGeom>
        </p:spPr>
      </p:pic>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9284642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731" y="39756"/>
            <a:ext cx="12182534" cy="6857999"/>
          </a:xfrm>
          <a:prstGeom prst="rect">
            <a:avLst/>
          </a:prstGeom>
        </p:spPr>
      </p:pic>
      <p:sp>
        <p:nvSpPr>
          <p:cNvPr id="18" name="Rectangle 17"/>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38206132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6" y="0"/>
            <a:ext cx="12190269" cy="6857999"/>
          </a:xfrm>
          <a:prstGeom prst="rect">
            <a:avLst/>
          </a:prstGeom>
        </p:spPr>
      </p:pic>
      <p:sp>
        <p:nvSpPr>
          <p:cNvPr id="17" name="Rectangle 16"/>
          <p:cNvSpPr/>
          <p:nvPr userDrawn="1"/>
        </p:nvSpPr>
        <p:spPr bwMode="gray">
          <a:xfrm>
            <a:off x="269239" y="2084172"/>
            <a:ext cx="6274974" cy="3586208"/>
          </a:xfrm>
          <a:prstGeom prst="rect">
            <a:avLst/>
          </a:prstGeom>
          <a:solidFill>
            <a:schemeClr val="accent2">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80390"/>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11867720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bwMode="gray">
          <a:xfrm flipH="1">
            <a:off x="0" y="0"/>
            <a:ext cx="12192001" cy="6858000"/>
          </a:xfrm>
          <a:prstGeom prst="rect">
            <a:avLst/>
          </a:prstGeom>
        </p:spPr>
      </p:pic>
      <p:sp>
        <p:nvSpPr>
          <p:cNvPr id="17" name="Rectangle 16"/>
          <p:cNvSpPr/>
          <p:nvPr userDrawn="1"/>
        </p:nvSpPr>
        <p:spPr bwMode="gray">
          <a:xfrm>
            <a:off x="269239" y="2084172"/>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13962738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8" name="Text Placeholder 23"/>
          <p:cNvSpPr>
            <a:spLocks noGrp="1"/>
          </p:cNvSpPr>
          <p:nvPr>
            <p:ph type="body" sz="quarter" idx="20"/>
          </p:nvPr>
        </p:nvSpPr>
        <p:spPr>
          <a:xfrm>
            <a:off x="9453682" y="1727787"/>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
        <p:nvSpPr>
          <p:cNvPr id="24" name="Text Placeholder 23"/>
          <p:cNvSpPr>
            <a:spLocks noGrp="1"/>
          </p:cNvSpPr>
          <p:nvPr>
            <p:ph type="body" sz="quarter" idx="16"/>
          </p:nvPr>
        </p:nvSpPr>
        <p:spPr>
          <a:xfrm>
            <a:off x="457200" y="1727863"/>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
        <p:nvSpPr>
          <p:cNvPr id="18" name="Picture Placeholder 17"/>
          <p:cNvSpPr>
            <a:spLocks noGrp="1"/>
          </p:cNvSpPr>
          <p:nvPr>
            <p:ph type="pic" sz="quarter" idx="11"/>
          </p:nvPr>
        </p:nvSpPr>
        <p:spPr>
          <a:xfrm>
            <a:off x="2706688" y="1727863"/>
            <a:ext cx="2249487" cy="2249488"/>
          </a:xfrm>
        </p:spPr>
        <p:txBody>
          <a:bodyPr/>
          <a:lstStyle/>
          <a:p>
            <a:endParaRPr lang="en-US"/>
          </a:p>
        </p:txBody>
      </p:sp>
      <p:sp>
        <p:nvSpPr>
          <p:cNvPr id="2" name="Title 1"/>
          <p:cNvSpPr>
            <a:spLocks noGrp="1"/>
          </p:cNvSpPr>
          <p:nvPr>
            <p:ph type="title"/>
          </p:nvPr>
        </p:nvSpPr>
        <p:spPr>
          <a:xfrm>
            <a:off x="269240" y="289511"/>
            <a:ext cx="11655840" cy="734157"/>
          </a:xfrm>
        </p:spPr>
        <p:txBody>
          <a:bodyPr/>
          <a:lstStyle>
            <a:lvl1pPr>
              <a:defRPr sz="4000"/>
            </a:lvl1pPr>
          </a:lstStyle>
          <a:p>
            <a:r>
              <a:rPr lang="en-US" dirty="0"/>
              <a:t>Click to edit Master title style</a:t>
            </a:r>
          </a:p>
        </p:txBody>
      </p:sp>
      <p:sp>
        <p:nvSpPr>
          <p:cNvPr id="4" name="Text Placeholder 3"/>
          <p:cNvSpPr>
            <a:spLocks noGrp="1"/>
          </p:cNvSpPr>
          <p:nvPr>
            <p:ph type="body" sz="quarter" idx="10"/>
          </p:nvPr>
        </p:nvSpPr>
        <p:spPr>
          <a:xfrm>
            <a:off x="269875" y="936625"/>
            <a:ext cx="11655425" cy="572464"/>
          </a:xfrm>
        </p:spPr>
        <p:txBody>
          <a:bodyPr/>
          <a:lstStyle>
            <a:lvl1pPr marL="0" indent="0">
              <a:buNone/>
              <a:defRPr sz="2800">
                <a:solidFill>
                  <a:schemeClr val="accent1"/>
                </a:solidFill>
              </a:defRPr>
            </a:lvl1pPr>
            <a:lvl2pPr marL="336145" indent="0">
              <a:buNone/>
              <a:defRPr sz="2800">
                <a:solidFill>
                  <a:schemeClr val="accent1"/>
                </a:solidFill>
              </a:defRPr>
            </a:lvl2pPr>
            <a:lvl3pPr marL="560241" indent="0">
              <a:buNone/>
              <a:defRPr sz="2800">
                <a:solidFill>
                  <a:schemeClr val="accent1"/>
                </a:solidFill>
              </a:defRPr>
            </a:lvl3pPr>
            <a:lvl4pPr marL="784338" indent="0">
              <a:buNone/>
              <a:defRPr sz="2800">
                <a:solidFill>
                  <a:schemeClr val="accent1"/>
                </a:solidFill>
              </a:defRPr>
            </a:lvl4pPr>
            <a:lvl5pPr marL="1008434" indent="0">
              <a:buNone/>
              <a:defRPr sz="2800">
                <a:solidFill>
                  <a:schemeClr val="accent1"/>
                </a:solidFill>
              </a:defRPr>
            </a:lvl5pPr>
          </a:lstStyle>
          <a:p>
            <a:pPr lvl="0"/>
            <a:r>
              <a:rPr lang="en-US" dirty="0"/>
              <a:t>Click to edit Master text styles</a:t>
            </a:r>
          </a:p>
        </p:txBody>
      </p:sp>
      <p:sp>
        <p:nvSpPr>
          <p:cNvPr id="19" name="Picture Placeholder 17"/>
          <p:cNvSpPr>
            <a:spLocks noGrp="1"/>
          </p:cNvSpPr>
          <p:nvPr>
            <p:ph type="pic" sz="quarter" idx="12"/>
          </p:nvPr>
        </p:nvSpPr>
        <p:spPr>
          <a:xfrm>
            <a:off x="7204490" y="1729003"/>
            <a:ext cx="2249487" cy="2249488"/>
          </a:xfrm>
        </p:spPr>
        <p:txBody>
          <a:bodyPr/>
          <a:lstStyle/>
          <a:p>
            <a:endParaRPr lang="en-US"/>
          </a:p>
        </p:txBody>
      </p:sp>
      <p:sp>
        <p:nvSpPr>
          <p:cNvPr id="20" name="Picture Placeholder 17"/>
          <p:cNvSpPr>
            <a:spLocks noGrp="1"/>
          </p:cNvSpPr>
          <p:nvPr>
            <p:ph type="pic" sz="quarter" idx="13"/>
          </p:nvPr>
        </p:nvSpPr>
        <p:spPr>
          <a:xfrm>
            <a:off x="457200" y="3979120"/>
            <a:ext cx="2249487" cy="2249488"/>
          </a:xfrm>
        </p:spPr>
        <p:txBody>
          <a:bodyPr/>
          <a:lstStyle/>
          <a:p>
            <a:endParaRPr lang="en-US" dirty="0"/>
          </a:p>
        </p:txBody>
      </p:sp>
      <p:sp>
        <p:nvSpPr>
          <p:cNvPr id="21" name="Picture Placeholder 17"/>
          <p:cNvSpPr>
            <a:spLocks noGrp="1"/>
          </p:cNvSpPr>
          <p:nvPr>
            <p:ph type="pic" sz="quarter" idx="14"/>
          </p:nvPr>
        </p:nvSpPr>
        <p:spPr>
          <a:xfrm>
            <a:off x="4955295" y="3979120"/>
            <a:ext cx="2249487" cy="2249488"/>
          </a:xfrm>
        </p:spPr>
        <p:txBody>
          <a:bodyPr/>
          <a:lstStyle/>
          <a:p>
            <a:endParaRPr lang="en-US"/>
          </a:p>
        </p:txBody>
      </p:sp>
      <p:sp>
        <p:nvSpPr>
          <p:cNvPr id="22" name="Picture Placeholder 17"/>
          <p:cNvSpPr>
            <a:spLocks noGrp="1"/>
          </p:cNvSpPr>
          <p:nvPr>
            <p:ph type="pic" sz="quarter" idx="15"/>
          </p:nvPr>
        </p:nvSpPr>
        <p:spPr>
          <a:xfrm>
            <a:off x="9453683" y="3979120"/>
            <a:ext cx="2249487" cy="2249488"/>
          </a:xfrm>
        </p:spPr>
        <p:txBody>
          <a:bodyPr/>
          <a:lstStyle/>
          <a:p>
            <a:endParaRPr lang="en-US"/>
          </a:p>
        </p:txBody>
      </p:sp>
      <p:sp>
        <p:nvSpPr>
          <p:cNvPr id="25" name="Text Placeholder 23"/>
          <p:cNvSpPr>
            <a:spLocks noGrp="1"/>
          </p:cNvSpPr>
          <p:nvPr>
            <p:ph type="body" sz="quarter" idx="17"/>
          </p:nvPr>
        </p:nvSpPr>
        <p:spPr>
          <a:xfrm>
            <a:off x="2706100" y="3978274"/>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
        <p:nvSpPr>
          <p:cNvPr id="26" name="Text Placeholder 23"/>
          <p:cNvSpPr>
            <a:spLocks noGrp="1"/>
          </p:cNvSpPr>
          <p:nvPr>
            <p:ph type="body" sz="quarter" idx="18"/>
          </p:nvPr>
        </p:nvSpPr>
        <p:spPr>
          <a:xfrm>
            <a:off x="4955294" y="1729003"/>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
        <p:nvSpPr>
          <p:cNvPr id="27" name="Text Placeholder 23"/>
          <p:cNvSpPr>
            <a:spLocks noGrp="1"/>
          </p:cNvSpPr>
          <p:nvPr>
            <p:ph type="body" sz="quarter" idx="19"/>
          </p:nvPr>
        </p:nvSpPr>
        <p:spPr>
          <a:xfrm>
            <a:off x="7204489" y="3979490"/>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2696370080"/>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17" name="Rectangle 16"/>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69494"/>
            <a:ext cx="7172955"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42793264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64" y="-1"/>
            <a:ext cx="12190272" cy="6858001"/>
          </a:xfrm>
          <a:prstGeom prst="rect">
            <a:avLst/>
          </a:prstGeom>
        </p:spPr>
      </p:pic>
      <p:sp>
        <p:nvSpPr>
          <p:cNvPr id="18" name="Rectangle 17"/>
          <p:cNvSpPr/>
          <p:nvPr userDrawn="1"/>
        </p:nvSpPr>
        <p:spPr bwMode="gray">
          <a:xfrm>
            <a:off x="269239" y="1187621"/>
            <a:ext cx="6274974" cy="3586208"/>
          </a:xfrm>
          <a:prstGeom prst="rect">
            <a:avLst/>
          </a:prstGeom>
          <a:solidFill>
            <a:schemeClr val="accent2">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6276530" cy="179310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2980724"/>
            <a:ext cx="6274974"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592781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Slide 8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7" y="0"/>
            <a:ext cx="12201147" cy="685800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2084186"/>
            <a:ext cx="7171399" cy="3586194"/>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3"/>
            <a:ext cx="7171399" cy="1793104"/>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39" y="3877276"/>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4164238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196685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5175755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0978199"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77137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48679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68473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0393548"/>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2212236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734157"/>
          </a:xfrm>
        </p:spPr>
        <p:txBody>
          <a:bodyPr/>
          <a:lstStyle>
            <a:lvl1pPr>
              <a:defRPr sz="4000"/>
            </a:lvl1pPr>
          </a:lstStyle>
          <a:p>
            <a:r>
              <a:rPr lang="en-US" dirty="0"/>
              <a:t>Click to edit Master title style</a:t>
            </a:r>
          </a:p>
        </p:txBody>
      </p:sp>
      <p:sp>
        <p:nvSpPr>
          <p:cNvPr id="3" name="Text Placeholder 3"/>
          <p:cNvSpPr>
            <a:spLocks noGrp="1"/>
          </p:cNvSpPr>
          <p:nvPr>
            <p:ph type="body" sz="quarter" idx="10"/>
          </p:nvPr>
        </p:nvSpPr>
        <p:spPr>
          <a:xfrm>
            <a:off x="269875" y="936625"/>
            <a:ext cx="11655425" cy="572464"/>
          </a:xfrm>
        </p:spPr>
        <p:txBody>
          <a:bodyPr/>
          <a:lstStyle>
            <a:lvl1pPr marL="0" indent="0">
              <a:buNone/>
              <a:defRPr sz="2800">
                <a:solidFill>
                  <a:schemeClr val="accent1"/>
                </a:solidFill>
              </a:defRPr>
            </a:lvl1pPr>
            <a:lvl2pPr marL="336145" indent="0">
              <a:buNone/>
              <a:defRPr sz="2800">
                <a:solidFill>
                  <a:schemeClr val="accent1"/>
                </a:solidFill>
              </a:defRPr>
            </a:lvl2pPr>
            <a:lvl3pPr marL="560241" indent="0">
              <a:buNone/>
              <a:defRPr sz="2800">
                <a:solidFill>
                  <a:schemeClr val="accent1"/>
                </a:solidFill>
              </a:defRPr>
            </a:lvl3pPr>
            <a:lvl4pPr marL="784338" indent="0">
              <a:buNone/>
              <a:defRPr sz="2800">
                <a:solidFill>
                  <a:schemeClr val="accent1"/>
                </a:solidFill>
              </a:defRPr>
            </a:lvl4pPr>
            <a:lvl5pPr marL="1008434" indent="0">
              <a:buNone/>
              <a:defRPr sz="2800">
                <a:solidFill>
                  <a:schemeClr val="accent1"/>
                </a:solidFill>
              </a:defRPr>
            </a:lvl5pPr>
          </a:lstStyle>
          <a:p>
            <a:pPr lvl="0"/>
            <a:r>
              <a:rPr lang="en-US" dirty="0"/>
              <a:t>Click to edit Master text styles</a:t>
            </a:r>
          </a:p>
        </p:txBody>
      </p:sp>
    </p:spTree>
    <p:extLst>
      <p:ext uri="{BB962C8B-B14F-4D97-AF65-F5344CB8AC3E}">
        <p14:creationId xmlns:p14="http://schemas.microsoft.com/office/powerpoint/2010/main" val="19899032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55912849"/>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0864786"/>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1520277"/>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2767130"/>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233711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5357770"/>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734157"/>
          </a:xfrm>
        </p:spPr>
        <p:txBody>
          <a:bodyPr/>
          <a:lstStyle>
            <a:lvl1pPr>
              <a:defRPr sz="4000">
                <a:solidFill>
                  <a:schemeClr val="tx2"/>
                </a:solidFill>
              </a:defRPr>
            </a:lvl1pPr>
          </a:lstStyle>
          <a:p>
            <a:r>
              <a:rPr lang="en-US" dirty="0"/>
              <a:t>Click to edit Master title style</a:t>
            </a:r>
          </a:p>
        </p:txBody>
      </p:sp>
      <p:sp>
        <p:nvSpPr>
          <p:cNvPr id="4" name="Text Placeholder 3"/>
          <p:cNvSpPr>
            <a:spLocks noGrp="1"/>
          </p:cNvSpPr>
          <p:nvPr>
            <p:ph type="body" sz="quarter" idx="10"/>
          </p:nvPr>
        </p:nvSpPr>
        <p:spPr>
          <a:xfrm>
            <a:off x="269240" y="854739"/>
            <a:ext cx="11655425" cy="572464"/>
          </a:xfrm>
        </p:spPr>
        <p:txBody>
          <a:bodyPr/>
          <a:lstStyle>
            <a:lvl1pPr marL="0" indent="0">
              <a:buNone/>
              <a:defRPr sz="2800">
                <a:solidFill>
                  <a:schemeClr val="accent1"/>
                </a:solidFill>
              </a:defRPr>
            </a:lvl1pPr>
            <a:lvl2pPr marL="336145" indent="0">
              <a:buNone/>
              <a:defRPr sz="2800">
                <a:solidFill>
                  <a:schemeClr val="accent1"/>
                </a:solidFill>
              </a:defRPr>
            </a:lvl2pPr>
            <a:lvl3pPr marL="560241" indent="0">
              <a:buNone/>
              <a:defRPr sz="2800">
                <a:solidFill>
                  <a:schemeClr val="accent1"/>
                </a:solidFill>
              </a:defRPr>
            </a:lvl3pPr>
            <a:lvl4pPr marL="784338" indent="0">
              <a:buNone/>
              <a:defRPr sz="2800">
                <a:solidFill>
                  <a:schemeClr val="accent1"/>
                </a:solidFill>
              </a:defRPr>
            </a:lvl4pPr>
            <a:lvl5pPr marL="1008434" indent="0">
              <a:buNone/>
              <a:defRPr sz="2800">
                <a:solidFill>
                  <a:schemeClr val="accent1"/>
                </a:solidFill>
              </a:defRPr>
            </a:lvl5pPr>
          </a:lstStyle>
          <a:p>
            <a:pPr lvl="0"/>
            <a:r>
              <a:rPr lang="en-US" dirty="0"/>
              <a:t>Click to edit Master text styles</a:t>
            </a:r>
          </a:p>
        </p:txBody>
      </p:sp>
    </p:spTree>
    <p:extLst>
      <p:ext uri="{BB962C8B-B14F-4D97-AF65-F5344CB8AC3E}">
        <p14:creationId xmlns:p14="http://schemas.microsoft.com/office/powerpoint/2010/main" val="855739131"/>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8" name="Text Placeholder 23"/>
          <p:cNvSpPr>
            <a:spLocks noGrp="1"/>
          </p:cNvSpPr>
          <p:nvPr>
            <p:ph type="body" sz="quarter" idx="20"/>
          </p:nvPr>
        </p:nvSpPr>
        <p:spPr>
          <a:xfrm>
            <a:off x="9453682" y="1727787"/>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
        <p:nvSpPr>
          <p:cNvPr id="24" name="Text Placeholder 23"/>
          <p:cNvSpPr>
            <a:spLocks noGrp="1"/>
          </p:cNvSpPr>
          <p:nvPr>
            <p:ph type="body" sz="quarter" idx="16"/>
          </p:nvPr>
        </p:nvSpPr>
        <p:spPr>
          <a:xfrm>
            <a:off x="457200" y="1727863"/>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
        <p:nvSpPr>
          <p:cNvPr id="18" name="Picture Placeholder 17"/>
          <p:cNvSpPr>
            <a:spLocks noGrp="1"/>
          </p:cNvSpPr>
          <p:nvPr>
            <p:ph type="pic" sz="quarter" idx="11"/>
          </p:nvPr>
        </p:nvSpPr>
        <p:spPr>
          <a:xfrm>
            <a:off x="2706688" y="1727863"/>
            <a:ext cx="2249487" cy="2249488"/>
          </a:xfrm>
        </p:spPr>
        <p:txBody>
          <a:bodyPr/>
          <a:lstStyle/>
          <a:p>
            <a:endParaRPr lang="en-US"/>
          </a:p>
        </p:txBody>
      </p:sp>
      <p:sp>
        <p:nvSpPr>
          <p:cNvPr id="2" name="Title 1"/>
          <p:cNvSpPr>
            <a:spLocks noGrp="1"/>
          </p:cNvSpPr>
          <p:nvPr>
            <p:ph type="title"/>
          </p:nvPr>
        </p:nvSpPr>
        <p:spPr>
          <a:xfrm>
            <a:off x="269240" y="289511"/>
            <a:ext cx="11655840" cy="734157"/>
          </a:xfrm>
        </p:spPr>
        <p:txBody>
          <a:bodyPr/>
          <a:lstStyle>
            <a:lvl1pPr>
              <a:defRPr sz="4000"/>
            </a:lvl1pPr>
          </a:lstStyle>
          <a:p>
            <a:r>
              <a:rPr lang="en-US" dirty="0"/>
              <a:t>Click to edit Master title style</a:t>
            </a:r>
          </a:p>
        </p:txBody>
      </p:sp>
      <p:sp>
        <p:nvSpPr>
          <p:cNvPr id="4" name="Text Placeholder 3"/>
          <p:cNvSpPr>
            <a:spLocks noGrp="1"/>
          </p:cNvSpPr>
          <p:nvPr>
            <p:ph type="body" sz="quarter" idx="10"/>
          </p:nvPr>
        </p:nvSpPr>
        <p:spPr>
          <a:xfrm>
            <a:off x="269875" y="936625"/>
            <a:ext cx="11655425" cy="572464"/>
          </a:xfrm>
        </p:spPr>
        <p:txBody>
          <a:bodyPr/>
          <a:lstStyle>
            <a:lvl1pPr marL="0" indent="0">
              <a:buNone/>
              <a:defRPr sz="2800">
                <a:solidFill>
                  <a:schemeClr val="accent1"/>
                </a:solidFill>
              </a:defRPr>
            </a:lvl1pPr>
            <a:lvl2pPr marL="336145" indent="0">
              <a:buNone/>
              <a:defRPr sz="2800">
                <a:solidFill>
                  <a:schemeClr val="accent1"/>
                </a:solidFill>
              </a:defRPr>
            </a:lvl2pPr>
            <a:lvl3pPr marL="560241" indent="0">
              <a:buNone/>
              <a:defRPr sz="2800">
                <a:solidFill>
                  <a:schemeClr val="accent1"/>
                </a:solidFill>
              </a:defRPr>
            </a:lvl3pPr>
            <a:lvl4pPr marL="784338" indent="0">
              <a:buNone/>
              <a:defRPr sz="2800">
                <a:solidFill>
                  <a:schemeClr val="accent1"/>
                </a:solidFill>
              </a:defRPr>
            </a:lvl4pPr>
            <a:lvl5pPr marL="1008434" indent="0">
              <a:buNone/>
              <a:defRPr sz="2800">
                <a:solidFill>
                  <a:schemeClr val="accent1"/>
                </a:solidFill>
              </a:defRPr>
            </a:lvl5pPr>
          </a:lstStyle>
          <a:p>
            <a:pPr lvl="0"/>
            <a:r>
              <a:rPr lang="en-US" dirty="0"/>
              <a:t>Click to edit Master text styles</a:t>
            </a:r>
          </a:p>
        </p:txBody>
      </p:sp>
      <p:sp>
        <p:nvSpPr>
          <p:cNvPr id="19" name="Picture Placeholder 17"/>
          <p:cNvSpPr>
            <a:spLocks noGrp="1"/>
          </p:cNvSpPr>
          <p:nvPr>
            <p:ph type="pic" sz="quarter" idx="12"/>
          </p:nvPr>
        </p:nvSpPr>
        <p:spPr>
          <a:xfrm>
            <a:off x="7204490" y="1729003"/>
            <a:ext cx="2249487" cy="2249488"/>
          </a:xfrm>
        </p:spPr>
        <p:txBody>
          <a:bodyPr/>
          <a:lstStyle/>
          <a:p>
            <a:endParaRPr lang="en-US"/>
          </a:p>
        </p:txBody>
      </p:sp>
      <p:sp>
        <p:nvSpPr>
          <p:cNvPr id="20" name="Picture Placeholder 17"/>
          <p:cNvSpPr>
            <a:spLocks noGrp="1"/>
          </p:cNvSpPr>
          <p:nvPr>
            <p:ph type="pic" sz="quarter" idx="13"/>
          </p:nvPr>
        </p:nvSpPr>
        <p:spPr>
          <a:xfrm>
            <a:off x="457200" y="3979120"/>
            <a:ext cx="2249487" cy="2249488"/>
          </a:xfrm>
        </p:spPr>
        <p:txBody>
          <a:bodyPr/>
          <a:lstStyle/>
          <a:p>
            <a:endParaRPr lang="en-US" dirty="0"/>
          </a:p>
        </p:txBody>
      </p:sp>
      <p:sp>
        <p:nvSpPr>
          <p:cNvPr id="21" name="Picture Placeholder 17"/>
          <p:cNvSpPr>
            <a:spLocks noGrp="1"/>
          </p:cNvSpPr>
          <p:nvPr>
            <p:ph type="pic" sz="quarter" idx="14"/>
          </p:nvPr>
        </p:nvSpPr>
        <p:spPr>
          <a:xfrm>
            <a:off x="4955295" y="3979120"/>
            <a:ext cx="2249487" cy="2249488"/>
          </a:xfrm>
        </p:spPr>
        <p:txBody>
          <a:bodyPr/>
          <a:lstStyle/>
          <a:p>
            <a:endParaRPr lang="en-US"/>
          </a:p>
        </p:txBody>
      </p:sp>
      <p:sp>
        <p:nvSpPr>
          <p:cNvPr id="22" name="Picture Placeholder 17"/>
          <p:cNvSpPr>
            <a:spLocks noGrp="1"/>
          </p:cNvSpPr>
          <p:nvPr>
            <p:ph type="pic" sz="quarter" idx="15"/>
          </p:nvPr>
        </p:nvSpPr>
        <p:spPr>
          <a:xfrm>
            <a:off x="9453683" y="3979120"/>
            <a:ext cx="2249487" cy="2249488"/>
          </a:xfrm>
        </p:spPr>
        <p:txBody>
          <a:bodyPr/>
          <a:lstStyle/>
          <a:p>
            <a:endParaRPr lang="en-US"/>
          </a:p>
        </p:txBody>
      </p:sp>
      <p:sp>
        <p:nvSpPr>
          <p:cNvPr id="25" name="Text Placeholder 23"/>
          <p:cNvSpPr>
            <a:spLocks noGrp="1"/>
          </p:cNvSpPr>
          <p:nvPr>
            <p:ph type="body" sz="quarter" idx="17"/>
          </p:nvPr>
        </p:nvSpPr>
        <p:spPr>
          <a:xfrm>
            <a:off x="2706100" y="3978274"/>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
        <p:nvSpPr>
          <p:cNvPr id="26" name="Text Placeholder 23"/>
          <p:cNvSpPr>
            <a:spLocks noGrp="1"/>
          </p:cNvSpPr>
          <p:nvPr>
            <p:ph type="body" sz="quarter" idx="18"/>
          </p:nvPr>
        </p:nvSpPr>
        <p:spPr>
          <a:xfrm>
            <a:off x="4955294" y="1729003"/>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
        <p:nvSpPr>
          <p:cNvPr id="27" name="Text Placeholder 23"/>
          <p:cNvSpPr>
            <a:spLocks noGrp="1"/>
          </p:cNvSpPr>
          <p:nvPr>
            <p:ph type="body" sz="quarter" idx="19"/>
          </p:nvPr>
        </p:nvSpPr>
        <p:spPr>
          <a:xfrm>
            <a:off x="7204489" y="3979490"/>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2976942667"/>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734157"/>
          </a:xfrm>
        </p:spPr>
        <p:txBody>
          <a:bodyPr/>
          <a:lstStyle>
            <a:lvl1pPr>
              <a:defRPr sz="4000"/>
            </a:lvl1pPr>
          </a:lstStyle>
          <a:p>
            <a:r>
              <a:rPr lang="en-US" dirty="0"/>
              <a:t>Click to edit Master title style</a:t>
            </a:r>
          </a:p>
        </p:txBody>
      </p:sp>
      <p:sp>
        <p:nvSpPr>
          <p:cNvPr id="3" name="Text Placeholder 3"/>
          <p:cNvSpPr>
            <a:spLocks noGrp="1"/>
          </p:cNvSpPr>
          <p:nvPr>
            <p:ph type="body" sz="quarter" idx="10"/>
          </p:nvPr>
        </p:nvSpPr>
        <p:spPr>
          <a:xfrm>
            <a:off x="269875" y="936625"/>
            <a:ext cx="11655425" cy="572464"/>
          </a:xfrm>
        </p:spPr>
        <p:txBody>
          <a:bodyPr/>
          <a:lstStyle>
            <a:lvl1pPr marL="0" indent="0">
              <a:buNone/>
              <a:defRPr sz="2800">
                <a:solidFill>
                  <a:schemeClr val="accent1"/>
                </a:solidFill>
              </a:defRPr>
            </a:lvl1pPr>
            <a:lvl2pPr marL="336145" indent="0">
              <a:buNone/>
              <a:defRPr sz="2800">
                <a:solidFill>
                  <a:schemeClr val="accent1"/>
                </a:solidFill>
              </a:defRPr>
            </a:lvl2pPr>
            <a:lvl3pPr marL="560241" indent="0">
              <a:buNone/>
              <a:defRPr sz="2800">
                <a:solidFill>
                  <a:schemeClr val="accent1"/>
                </a:solidFill>
              </a:defRPr>
            </a:lvl3pPr>
            <a:lvl4pPr marL="784338" indent="0">
              <a:buNone/>
              <a:defRPr sz="2800">
                <a:solidFill>
                  <a:schemeClr val="accent1"/>
                </a:solidFill>
              </a:defRPr>
            </a:lvl4pPr>
            <a:lvl5pPr marL="1008434" indent="0">
              <a:buNone/>
              <a:defRPr sz="2800">
                <a:solidFill>
                  <a:schemeClr val="accent1"/>
                </a:solidFill>
              </a:defRPr>
            </a:lvl5pPr>
          </a:lstStyle>
          <a:p>
            <a:pPr lvl="0"/>
            <a:r>
              <a:rPr lang="en-US" dirty="0"/>
              <a:t>Click to edit Master text styles</a:t>
            </a:r>
          </a:p>
        </p:txBody>
      </p:sp>
    </p:spTree>
    <p:extLst>
      <p:ext uri="{BB962C8B-B14F-4D97-AF65-F5344CB8AC3E}">
        <p14:creationId xmlns:p14="http://schemas.microsoft.com/office/powerpoint/2010/main" val="2943789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6108060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5161809"/>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01467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9888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56572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38579529"/>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47247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3_Title Slide 3">
    <p:spTree>
      <p:nvGrpSpPr>
        <p:cNvPr id="1" name=""/>
        <p:cNvGrpSpPr/>
        <p:nvPr/>
      </p:nvGrpSpPr>
      <p:grpSpPr>
        <a:xfrm>
          <a:off x="0" y="0"/>
          <a:ext cx="0" cy="0"/>
          <a:chOff x="0" y="0"/>
          <a:chExt cx="0" cy="0"/>
        </a:xfrm>
      </p:grpSpPr>
      <p:pic>
        <p:nvPicPr>
          <p:cNvPr id="3074" name="Picture 2" descr="C:\Users\Sarah\Documents\_SSD_Business\Client_collateral\MICROSOFT_DVD_ART\MICROSOFT PHOTOS\Picture2.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3996078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4_Title Slide 3">
    <p:spTree>
      <p:nvGrpSpPr>
        <p:cNvPr id="1" name=""/>
        <p:cNvGrpSpPr/>
        <p:nvPr/>
      </p:nvGrpSpPr>
      <p:grpSpPr>
        <a:xfrm>
          <a:off x="0" y="0"/>
          <a:ext cx="0" cy="0"/>
          <a:chOff x="0" y="0"/>
          <a:chExt cx="0" cy="0"/>
        </a:xfrm>
      </p:grpSpPr>
      <p:pic>
        <p:nvPicPr>
          <p:cNvPr id="4099" name="Picture 3" descr="C:\Users\Sarah\Documents\_SSD_Business\Client_collateral\MICROSOFT_DVD_ART\MICROSOFT PHOTOS\Picture7.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19723970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5_Title Slide 3">
    <p:spTree>
      <p:nvGrpSpPr>
        <p:cNvPr id="1" name=""/>
        <p:cNvGrpSpPr/>
        <p:nvPr/>
      </p:nvGrpSpPr>
      <p:grpSpPr>
        <a:xfrm>
          <a:off x="0" y="0"/>
          <a:ext cx="0" cy="0"/>
          <a:chOff x="0" y="0"/>
          <a:chExt cx="0" cy="0"/>
        </a:xfrm>
      </p:grpSpPr>
      <p:pic>
        <p:nvPicPr>
          <p:cNvPr id="5122" name="Picture 2" descr="C:\Users\Sarah\Documents\_SSD_Business\Client_collateral\MICROSOFT_DVD_ART\MICROSOFT PHOTOS\STB13_Jaden_04.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flipH="1">
            <a:off x="-1" y="0"/>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29036009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2_Title Slide 3">
    <p:spTree>
      <p:nvGrpSpPr>
        <p:cNvPr id="1" name=""/>
        <p:cNvGrpSpPr/>
        <p:nvPr/>
      </p:nvGrpSpPr>
      <p:grpSpPr>
        <a:xfrm>
          <a:off x="0" y="0"/>
          <a:ext cx="0" cy="0"/>
          <a:chOff x="0" y="0"/>
          <a:chExt cx="0" cy="0"/>
        </a:xfrm>
      </p:grpSpPr>
      <p:pic>
        <p:nvPicPr>
          <p:cNvPr id="2052" name="Picture 4" descr="C:\Users\Sarah\Documents\_SSD_Business\Client_collateral\MICROSOFT_DVD_ART\MICROSOFT PHOTOS\Picture1.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flipH="1">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1589053"/>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587349"/>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385271"/>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31503578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8789626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3963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843316669"/>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228473401"/>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2"/>
            <a:ext cx="6276530" cy="875413"/>
          </a:xfrm>
          <a:noFill/>
        </p:spPr>
        <p:txBody>
          <a:bodyPr lIns="146304" tIns="91440" rIns="146304" bIns="91440" anchor="t" anchorCtr="0"/>
          <a:lstStyle>
            <a:lvl1pPr>
              <a:defRPr sz="5294"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6"/>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2461449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2801855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145891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5034570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0091213"/>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5580141"/>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6827542"/>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544593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4650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8120677"/>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4435681"/>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3186991"/>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4004374"/>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877250665"/>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39871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35354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76738672"/>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494278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526857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16240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181664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53747592"/>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178589"/>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35804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8836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95297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9626836"/>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Tree>
    <p:extLst>
      <p:ext uri="{BB962C8B-B14F-4D97-AF65-F5344CB8AC3E}">
        <p14:creationId xmlns:p14="http://schemas.microsoft.com/office/powerpoint/2010/main" val="708383240"/>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34776745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29784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6064548"/>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2"/>
            <a:ext cx="6276530" cy="875413"/>
          </a:xfrm>
          <a:noFill/>
        </p:spPr>
        <p:txBody>
          <a:bodyPr lIns="146304" tIns="91440" rIns="146304" bIns="91440" anchor="t" anchorCtr="0"/>
          <a:lstStyle>
            <a:lvl1pPr>
              <a:defRPr sz="5294"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6"/>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1948615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383440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16398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35868817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37069139"/>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736992"/>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0058636"/>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4323013"/>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43596581"/>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442268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731" y="39756"/>
            <a:ext cx="12182534" cy="6857999"/>
          </a:xfrm>
          <a:prstGeom prst="rect">
            <a:avLst/>
          </a:prstGeom>
        </p:spPr>
      </p:pic>
      <p:sp>
        <p:nvSpPr>
          <p:cNvPr id="18" name="Rectangle 17"/>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38412000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033656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9423847"/>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9443260"/>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68113019"/>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09979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859491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34273061"/>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82392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44332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85445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9774540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Title Slide 3">
    <p:spTree>
      <p:nvGrpSpPr>
        <p:cNvPr id="1" name=""/>
        <p:cNvGrpSpPr/>
        <p:nvPr/>
      </p:nvGrpSpPr>
      <p:grpSpPr>
        <a:xfrm>
          <a:off x="0" y="0"/>
          <a:ext cx="0" cy="0"/>
          <a:chOff x="0" y="0"/>
          <a:chExt cx="0" cy="0"/>
        </a:xfrm>
      </p:grpSpPr>
      <p:pic>
        <p:nvPicPr>
          <p:cNvPr id="3074" name="Picture 2" descr="C:\Users\Sarah\Documents\_SSD_Business\Client_collateral\MICROSOFT_DVD_ART\MICROSOFT PHOTOS\Picture2.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26014070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4735592"/>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62036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17201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29130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3029931"/>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Tree>
    <p:extLst>
      <p:ext uri="{BB962C8B-B14F-4D97-AF65-F5344CB8AC3E}">
        <p14:creationId xmlns:p14="http://schemas.microsoft.com/office/powerpoint/2010/main" val="655008615"/>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38902480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914954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98320983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2"/>
            <a:ext cx="6276530" cy="875413"/>
          </a:xfrm>
          <a:noFill/>
        </p:spPr>
        <p:txBody>
          <a:bodyPr lIns="146304" tIns="91440" rIns="146304" bIns="91440" anchor="t" anchorCtr="0"/>
          <a:lstStyle>
            <a:lvl1pPr>
              <a:defRPr sz="5294"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6"/>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3842599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Title Slide 3">
    <p:spTree>
      <p:nvGrpSpPr>
        <p:cNvPr id="1" name=""/>
        <p:cNvGrpSpPr/>
        <p:nvPr/>
      </p:nvGrpSpPr>
      <p:grpSpPr>
        <a:xfrm>
          <a:off x="0" y="0"/>
          <a:ext cx="0" cy="0"/>
          <a:chOff x="0" y="0"/>
          <a:chExt cx="0" cy="0"/>
        </a:xfrm>
      </p:grpSpPr>
      <p:pic>
        <p:nvPicPr>
          <p:cNvPr id="4099" name="Picture 3" descr="C:\Users\Sarah\Documents\_SSD_Business\Client_collateral\MICROSOFT_DVD_ART\MICROSOFT PHOTOS\Picture7.jpg"/>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brightnessContrast bright="5000" contrast="-3000"/>
                    </a14:imgEffect>
                  </a14:imgLayer>
                </a14:imgProps>
              </a:ex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15076262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930442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4136777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5367272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1040267"/>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305174"/>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4548934"/>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3882598"/>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473617"/>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87053570"/>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537889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Title Slide 3">
    <p:spTree>
      <p:nvGrpSpPr>
        <p:cNvPr id="1" name=""/>
        <p:cNvGrpSpPr/>
        <p:nvPr/>
      </p:nvGrpSpPr>
      <p:grpSpPr>
        <a:xfrm>
          <a:off x="0" y="0"/>
          <a:ext cx="0" cy="0"/>
          <a:chOff x="0" y="0"/>
          <a:chExt cx="0" cy="0"/>
        </a:xfrm>
      </p:grpSpPr>
      <p:pic>
        <p:nvPicPr>
          <p:cNvPr id="5122" name="Picture 2" descr="C:\Users\Sarah\Documents\_SSD_Business\Client_collateral\MICROSOFT_DVD_ART\MICROSOFT PHOTOS\STB13_Jaden_04.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flipH="1">
            <a:off x="-1" y="0"/>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1248001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24988040"/>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10668379"/>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901652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281997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93380605"/>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291801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84965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6840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20697653"/>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8326446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Slide 3">
    <p:spTree>
      <p:nvGrpSpPr>
        <p:cNvPr id="1" name=""/>
        <p:cNvGrpSpPr/>
        <p:nvPr/>
      </p:nvGrpSpPr>
      <p:grpSpPr>
        <a:xfrm>
          <a:off x="0" y="0"/>
          <a:ext cx="0" cy="0"/>
          <a:chOff x="0" y="0"/>
          <a:chExt cx="0" cy="0"/>
        </a:xfrm>
      </p:grpSpPr>
      <p:pic>
        <p:nvPicPr>
          <p:cNvPr id="2052" name="Picture 4" descr="C:\Users\Sarah\Documents\_SSD_Business\Client_collateral\MICROSOFT_DVD_ART\MICROSOFT PHOTOS\Picture1.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flipH="1">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1589053"/>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587349"/>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385271"/>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39584456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94591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9897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47008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9208639"/>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Tree>
    <p:extLst>
      <p:ext uri="{BB962C8B-B14F-4D97-AF65-F5344CB8AC3E}">
        <p14:creationId xmlns:p14="http://schemas.microsoft.com/office/powerpoint/2010/main" val="3453875743"/>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1437395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164758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33305670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19" y="471123"/>
            <a:ext cx="2507467" cy="537211"/>
          </a:xfrm>
          <a:prstGeom prst="rect">
            <a:avLst/>
          </a:prstGeom>
        </p:spPr>
      </p:pic>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233503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731" y="39756"/>
            <a:ext cx="12182534" cy="6857999"/>
          </a:xfrm>
          <a:prstGeom prst="rect">
            <a:avLst/>
          </a:prstGeom>
        </p:spPr>
      </p:pic>
      <p:sp>
        <p:nvSpPr>
          <p:cNvPr id="18" name="Rectangle 17"/>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36902080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20014119"/>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6" y="0"/>
            <a:ext cx="12190269" cy="6857999"/>
          </a:xfrm>
          <a:prstGeom prst="rect">
            <a:avLst/>
          </a:prstGeom>
        </p:spPr>
      </p:pic>
      <p:sp>
        <p:nvSpPr>
          <p:cNvPr id="17" name="Rectangle 16"/>
          <p:cNvSpPr/>
          <p:nvPr userDrawn="1"/>
        </p:nvSpPr>
        <p:spPr bwMode="gray">
          <a:xfrm>
            <a:off x="269239" y="2084172"/>
            <a:ext cx="6274974" cy="3586208"/>
          </a:xfrm>
          <a:prstGeom prst="rect">
            <a:avLst/>
          </a:prstGeom>
          <a:solidFill>
            <a:schemeClr val="accent2">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80390"/>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35090234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bwMode="gray">
          <a:xfrm flipH="1">
            <a:off x="0" y="0"/>
            <a:ext cx="12192001" cy="6858000"/>
          </a:xfrm>
          <a:prstGeom prst="rect">
            <a:avLst/>
          </a:prstGeom>
        </p:spPr>
      </p:pic>
      <p:sp>
        <p:nvSpPr>
          <p:cNvPr id="17" name="Rectangle 16"/>
          <p:cNvSpPr/>
          <p:nvPr userDrawn="1"/>
        </p:nvSpPr>
        <p:spPr bwMode="gray">
          <a:xfrm>
            <a:off x="269239" y="2084172"/>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11284836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17" name="Rectangle 16"/>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69494"/>
            <a:ext cx="7172955"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5319515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64" y="-1"/>
            <a:ext cx="12190272" cy="6858001"/>
          </a:xfrm>
          <a:prstGeom prst="rect">
            <a:avLst/>
          </a:prstGeom>
        </p:spPr>
      </p:pic>
      <p:sp>
        <p:nvSpPr>
          <p:cNvPr id="18" name="Rectangle 17"/>
          <p:cNvSpPr/>
          <p:nvPr userDrawn="1"/>
        </p:nvSpPr>
        <p:spPr bwMode="gray">
          <a:xfrm>
            <a:off x="269239" y="1187621"/>
            <a:ext cx="6274974" cy="3586208"/>
          </a:xfrm>
          <a:prstGeom prst="rect">
            <a:avLst/>
          </a:prstGeom>
          <a:solidFill>
            <a:schemeClr val="accent2">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6276530" cy="179310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2980724"/>
            <a:ext cx="6274974"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21771906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Slide 8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7" y="0"/>
            <a:ext cx="12201147" cy="685800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2084186"/>
            <a:ext cx="7171399" cy="3586194"/>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3"/>
            <a:ext cx="7171399" cy="1793104"/>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39" y="3877276"/>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28645854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031941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34535469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0978199"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672919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085612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61083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2285441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2843019"/>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4828607"/>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9379697"/>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6352985"/>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2931311"/>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7561047"/>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9952809"/>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3081126"/>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734157"/>
          </a:xfrm>
        </p:spPr>
        <p:txBody>
          <a:bodyPr/>
          <a:lstStyle>
            <a:lvl1pPr>
              <a:defRPr sz="4000">
                <a:solidFill>
                  <a:schemeClr val="tx2"/>
                </a:solidFill>
              </a:defRPr>
            </a:lvl1pPr>
          </a:lstStyle>
          <a:p>
            <a:r>
              <a:rPr lang="en-US" dirty="0"/>
              <a:t>Click to edit Master title style</a:t>
            </a:r>
          </a:p>
        </p:txBody>
      </p:sp>
      <p:sp>
        <p:nvSpPr>
          <p:cNvPr id="4" name="Text Placeholder 3"/>
          <p:cNvSpPr>
            <a:spLocks noGrp="1"/>
          </p:cNvSpPr>
          <p:nvPr>
            <p:ph type="body" sz="quarter" idx="10"/>
          </p:nvPr>
        </p:nvSpPr>
        <p:spPr>
          <a:xfrm>
            <a:off x="269240" y="854739"/>
            <a:ext cx="11655425" cy="572464"/>
          </a:xfrm>
        </p:spPr>
        <p:txBody>
          <a:bodyPr/>
          <a:lstStyle>
            <a:lvl1pPr marL="0" indent="0">
              <a:buNone/>
              <a:defRPr sz="2800">
                <a:solidFill>
                  <a:schemeClr val="accent1"/>
                </a:solidFill>
              </a:defRPr>
            </a:lvl1pPr>
            <a:lvl2pPr marL="336145" indent="0">
              <a:buNone/>
              <a:defRPr sz="2800">
                <a:solidFill>
                  <a:schemeClr val="accent1"/>
                </a:solidFill>
              </a:defRPr>
            </a:lvl2pPr>
            <a:lvl3pPr marL="560241" indent="0">
              <a:buNone/>
              <a:defRPr sz="2800">
                <a:solidFill>
                  <a:schemeClr val="accent1"/>
                </a:solidFill>
              </a:defRPr>
            </a:lvl3pPr>
            <a:lvl4pPr marL="784338" indent="0">
              <a:buNone/>
              <a:defRPr sz="2800">
                <a:solidFill>
                  <a:schemeClr val="accent1"/>
                </a:solidFill>
              </a:defRPr>
            </a:lvl4pPr>
            <a:lvl5pPr marL="1008434" indent="0">
              <a:buNone/>
              <a:defRPr sz="2800">
                <a:solidFill>
                  <a:schemeClr val="accent1"/>
                </a:solidFill>
              </a:defRPr>
            </a:lvl5pPr>
          </a:lstStyle>
          <a:p>
            <a:pPr lvl="0"/>
            <a:r>
              <a:rPr lang="en-US" dirty="0"/>
              <a:t>Click to edit Master text styles</a:t>
            </a:r>
          </a:p>
        </p:txBody>
      </p:sp>
    </p:spTree>
    <p:extLst>
      <p:ext uri="{BB962C8B-B14F-4D97-AF65-F5344CB8AC3E}">
        <p14:creationId xmlns:p14="http://schemas.microsoft.com/office/powerpoint/2010/main" val="3813451987"/>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8" name="Text Placeholder 23"/>
          <p:cNvSpPr>
            <a:spLocks noGrp="1"/>
          </p:cNvSpPr>
          <p:nvPr>
            <p:ph type="body" sz="quarter" idx="20"/>
          </p:nvPr>
        </p:nvSpPr>
        <p:spPr>
          <a:xfrm>
            <a:off x="9453682" y="1727787"/>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
        <p:nvSpPr>
          <p:cNvPr id="24" name="Text Placeholder 23"/>
          <p:cNvSpPr>
            <a:spLocks noGrp="1"/>
          </p:cNvSpPr>
          <p:nvPr>
            <p:ph type="body" sz="quarter" idx="16"/>
          </p:nvPr>
        </p:nvSpPr>
        <p:spPr>
          <a:xfrm>
            <a:off x="457200" y="1727863"/>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
        <p:nvSpPr>
          <p:cNvPr id="18" name="Picture Placeholder 17"/>
          <p:cNvSpPr>
            <a:spLocks noGrp="1"/>
          </p:cNvSpPr>
          <p:nvPr>
            <p:ph type="pic" sz="quarter" idx="11"/>
          </p:nvPr>
        </p:nvSpPr>
        <p:spPr>
          <a:xfrm>
            <a:off x="2706688" y="1727863"/>
            <a:ext cx="2249487" cy="2249488"/>
          </a:xfrm>
        </p:spPr>
        <p:txBody>
          <a:bodyPr/>
          <a:lstStyle/>
          <a:p>
            <a:endParaRPr lang="en-US"/>
          </a:p>
        </p:txBody>
      </p:sp>
      <p:sp>
        <p:nvSpPr>
          <p:cNvPr id="2" name="Title 1"/>
          <p:cNvSpPr>
            <a:spLocks noGrp="1"/>
          </p:cNvSpPr>
          <p:nvPr>
            <p:ph type="title"/>
          </p:nvPr>
        </p:nvSpPr>
        <p:spPr>
          <a:xfrm>
            <a:off x="269240" y="289511"/>
            <a:ext cx="11655840" cy="734157"/>
          </a:xfrm>
        </p:spPr>
        <p:txBody>
          <a:bodyPr/>
          <a:lstStyle>
            <a:lvl1pPr>
              <a:defRPr sz="4000"/>
            </a:lvl1pPr>
          </a:lstStyle>
          <a:p>
            <a:r>
              <a:rPr lang="en-US" dirty="0"/>
              <a:t>Click to edit Master title style</a:t>
            </a:r>
          </a:p>
        </p:txBody>
      </p:sp>
      <p:sp>
        <p:nvSpPr>
          <p:cNvPr id="4" name="Text Placeholder 3"/>
          <p:cNvSpPr>
            <a:spLocks noGrp="1"/>
          </p:cNvSpPr>
          <p:nvPr>
            <p:ph type="body" sz="quarter" idx="10"/>
          </p:nvPr>
        </p:nvSpPr>
        <p:spPr>
          <a:xfrm>
            <a:off x="269875" y="936625"/>
            <a:ext cx="11655425" cy="572464"/>
          </a:xfrm>
        </p:spPr>
        <p:txBody>
          <a:bodyPr/>
          <a:lstStyle>
            <a:lvl1pPr marL="0" indent="0">
              <a:buNone/>
              <a:defRPr sz="2800">
                <a:solidFill>
                  <a:schemeClr val="accent1"/>
                </a:solidFill>
              </a:defRPr>
            </a:lvl1pPr>
            <a:lvl2pPr marL="336145" indent="0">
              <a:buNone/>
              <a:defRPr sz="2800">
                <a:solidFill>
                  <a:schemeClr val="accent1"/>
                </a:solidFill>
              </a:defRPr>
            </a:lvl2pPr>
            <a:lvl3pPr marL="560241" indent="0">
              <a:buNone/>
              <a:defRPr sz="2800">
                <a:solidFill>
                  <a:schemeClr val="accent1"/>
                </a:solidFill>
              </a:defRPr>
            </a:lvl3pPr>
            <a:lvl4pPr marL="784338" indent="0">
              <a:buNone/>
              <a:defRPr sz="2800">
                <a:solidFill>
                  <a:schemeClr val="accent1"/>
                </a:solidFill>
              </a:defRPr>
            </a:lvl4pPr>
            <a:lvl5pPr marL="1008434" indent="0">
              <a:buNone/>
              <a:defRPr sz="2800">
                <a:solidFill>
                  <a:schemeClr val="accent1"/>
                </a:solidFill>
              </a:defRPr>
            </a:lvl5pPr>
          </a:lstStyle>
          <a:p>
            <a:pPr lvl="0"/>
            <a:r>
              <a:rPr lang="en-US" dirty="0"/>
              <a:t>Click to edit Master text styles</a:t>
            </a:r>
          </a:p>
        </p:txBody>
      </p:sp>
      <p:sp>
        <p:nvSpPr>
          <p:cNvPr id="19" name="Picture Placeholder 17"/>
          <p:cNvSpPr>
            <a:spLocks noGrp="1"/>
          </p:cNvSpPr>
          <p:nvPr>
            <p:ph type="pic" sz="quarter" idx="12"/>
          </p:nvPr>
        </p:nvSpPr>
        <p:spPr>
          <a:xfrm>
            <a:off x="7204490" y="1729003"/>
            <a:ext cx="2249487" cy="2249488"/>
          </a:xfrm>
        </p:spPr>
        <p:txBody>
          <a:bodyPr/>
          <a:lstStyle/>
          <a:p>
            <a:endParaRPr lang="en-US"/>
          </a:p>
        </p:txBody>
      </p:sp>
      <p:sp>
        <p:nvSpPr>
          <p:cNvPr id="20" name="Picture Placeholder 17"/>
          <p:cNvSpPr>
            <a:spLocks noGrp="1"/>
          </p:cNvSpPr>
          <p:nvPr>
            <p:ph type="pic" sz="quarter" idx="13"/>
          </p:nvPr>
        </p:nvSpPr>
        <p:spPr>
          <a:xfrm>
            <a:off x="457200" y="3979120"/>
            <a:ext cx="2249487" cy="2249488"/>
          </a:xfrm>
        </p:spPr>
        <p:txBody>
          <a:bodyPr/>
          <a:lstStyle/>
          <a:p>
            <a:endParaRPr lang="en-US" dirty="0"/>
          </a:p>
        </p:txBody>
      </p:sp>
      <p:sp>
        <p:nvSpPr>
          <p:cNvPr id="21" name="Picture Placeholder 17"/>
          <p:cNvSpPr>
            <a:spLocks noGrp="1"/>
          </p:cNvSpPr>
          <p:nvPr>
            <p:ph type="pic" sz="quarter" idx="14"/>
          </p:nvPr>
        </p:nvSpPr>
        <p:spPr>
          <a:xfrm>
            <a:off x="4955295" y="3979120"/>
            <a:ext cx="2249487" cy="2249488"/>
          </a:xfrm>
        </p:spPr>
        <p:txBody>
          <a:bodyPr/>
          <a:lstStyle/>
          <a:p>
            <a:endParaRPr lang="en-US"/>
          </a:p>
        </p:txBody>
      </p:sp>
      <p:sp>
        <p:nvSpPr>
          <p:cNvPr id="22" name="Picture Placeholder 17"/>
          <p:cNvSpPr>
            <a:spLocks noGrp="1"/>
          </p:cNvSpPr>
          <p:nvPr>
            <p:ph type="pic" sz="quarter" idx="15"/>
          </p:nvPr>
        </p:nvSpPr>
        <p:spPr>
          <a:xfrm>
            <a:off x="9453683" y="3979120"/>
            <a:ext cx="2249487" cy="2249488"/>
          </a:xfrm>
        </p:spPr>
        <p:txBody>
          <a:bodyPr/>
          <a:lstStyle/>
          <a:p>
            <a:endParaRPr lang="en-US"/>
          </a:p>
        </p:txBody>
      </p:sp>
      <p:sp>
        <p:nvSpPr>
          <p:cNvPr id="25" name="Text Placeholder 23"/>
          <p:cNvSpPr>
            <a:spLocks noGrp="1"/>
          </p:cNvSpPr>
          <p:nvPr>
            <p:ph type="body" sz="quarter" idx="17"/>
          </p:nvPr>
        </p:nvSpPr>
        <p:spPr>
          <a:xfrm>
            <a:off x="2706100" y="3978274"/>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
        <p:nvSpPr>
          <p:cNvPr id="26" name="Text Placeholder 23"/>
          <p:cNvSpPr>
            <a:spLocks noGrp="1"/>
          </p:cNvSpPr>
          <p:nvPr>
            <p:ph type="body" sz="quarter" idx="18"/>
          </p:nvPr>
        </p:nvSpPr>
        <p:spPr>
          <a:xfrm>
            <a:off x="4955294" y="1729003"/>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
        <p:nvSpPr>
          <p:cNvPr id="27" name="Text Placeholder 23"/>
          <p:cNvSpPr>
            <a:spLocks noGrp="1"/>
          </p:cNvSpPr>
          <p:nvPr>
            <p:ph type="body" sz="quarter" idx="19"/>
          </p:nvPr>
        </p:nvSpPr>
        <p:spPr>
          <a:xfrm>
            <a:off x="7204489" y="3979490"/>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340203578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19" y="471123"/>
            <a:ext cx="2507467" cy="537211"/>
          </a:xfrm>
          <a:prstGeom prst="rect">
            <a:avLst/>
          </a:prstGeom>
        </p:spPr>
      </p:pic>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207148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734157"/>
          </a:xfrm>
        </p:spPr>
        <p:txBody>
          <a:bodyPr/>
          <a:lstStyle>
            <a:lvl1pPr>
              <a:defRPr sz="4000"/>
            </a:lvl1pPr>
          </a:lstStyle>
          <a:p>
            <a:r>
              <a:rPr lang="en-US" dirty="0"/>
              <a:t>Click to edit Master title style</a:t>
            </a:r>
          </a:p>
        </p:txBody>
      </p:sp>
      <p:sp>
        <p:nvSpPr>
          <p:cNvPr id="3" name="Text Placeholder 3"/>
          <p:cNvSpPr>
            <a:spLocks noGrp="1"/>
          </p:cNvSpPr>
          <p:nvPr>
            <p:ph type="body" sz="quarter" idx="10"/>
          </p:nvPr>
        </p:nvSpPr>
        <p:spPr>
          <a:xfrm>
            <a:off x="269875" y="936625"/>
            <a:ext cx="11655425" cy="572464"/>
          </a:xfrm>
        </p:spPr>
        <p:txBody>
          <a:bodyPr/>
          <a:lstStyle>
            <a:lvl1pPr marL="0" indent="0">
              <a:buNone/>
              <a:defRPr sz="2800">
                <a:solidFill>
                  <a:schemeClr val="accent1"/>
                </a:solidFill>
              </a:defRPr>
            </a:lvl1pPr>
            <a:lvl2pPr marL="336145" indent="0">
              <a:buNone/>
              <a:defRPr sz="2800">
                <a:solidFill>
                  <a:schemeClr val="accent1"/>
                </a:solidFill>
              </a:defRPr>
            </a:lvl2pPr>
            <a:lvl3pPr marL="560241" indent="0">
              <a:buNone/>
              <a:defRPr sz="2800">
                <a:solidFill>
                  <a:schemeClr val="accent1"/>
                </a:solidFill>
              </a:defRPr>
            </a:lvl3pPr>
            <a:lvl4pPr marL="784338" indent="0">
              <a:buNone/>
              <a:defRPr sz="2800">
                <a:solidFill>
                  <a:schemeClr val="accent1"/>
                </a:solidFill>
              </a:defRPr>
            </a:lvl4pPr>
            <a:lvl5pPr marL="1008434" indent="0">
              <a:buNone/>
              <a:defRPr sz="2800">
                <a:solidFill>
                  <a:schemeClr val="accent1"/>
                </a:solidFill>
              </a:defRPr>
            </a:lvl5pPr>
          </a:lstStyle>
          <a:p>
            <a:pPr lvl="0"/>
            <a:r>
              <a:rPr lang="en-US" dirty="0"/>
              <a:t>Click to edit Master text styles</a:t>
            </a:r>
          </a:p>
        </p:txBody>
      </p:sp>
    </p:spTree>
    <p:extLst>
      <p:ext uri="{BB962C8B-B14F-4D97-AF65-F5344CB8AC3E}">
        <p14:creationId xmlns:p14="http://schemas.microsoft.com/office/powerpoint/2010/main" val="10894928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2429672"/>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10594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01608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28682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1051964"/>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968772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3_Title Slide 3">
    <p:spTree>
      <p:nvGrpSpPr>
        <p:cNvPr id="1" name=""/>
        <p:cNvGrpSpPr/>
        <p:nvPr/>
      </p:nvGrpSpPr>
      <p:grpSpPr>
        <a:xfrm>
          <a:off x="0" y="0"/>
          <a:ext cx="0" cy="0"/>
          <a:chOff x="0" y="0"/>
          <a:chExt cx="0" cy="0"/>
        </a:xfrm>
      </p:grpSpPr>
      <p:pic>
        <p:nvPicPr>
          <p:cNvPr id="3074" name="Picture 2" descr="C:\Users\Sarah\Documents\_SSD_Business\Client_collateral\MICROSOFT_DVD_ART\MICROSOFT PHOTOS\Picture2.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29672778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4_Title Slide 3">
    <p:spTree>
      <p:nvGrpSpPr>
        <p:cNvPr id="1" name=""/>
        <p:cNvGrpSpPr/>
        <p:nvPr/>
      </p:nvGrpSpPr>
      <p:grpSpPr>
        <a:xfrm>
          <a:off x="0" y="0"/>
          <a:ext cx="0" cy="0"/>
          <a:chOff x="0" y="0"/>
          <a:chExt cx="0" cy="0"/>
        </a:xfrm>
      </p:grpSpPr>
      <p:pic>
        <p:nvPicPr>
          <p:cNvPr id="4099" name="Picture 3" descr="C:\Users\Sarah\Documents\_SSD_Business\Client_collateral\MICROSOFT_DVD_ART\MICROSOFT PHOTOS\Picture7.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36005798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6_Title Slide 3">
    <p:spTree>
      <p:nvGrpSpPr>
        <p:cNvPr id="1" name=""/>
        <p:cNvGrpSpPr/>
        <p:nvPr/>
      </p:nvGrpSpPr>
      <p:grpSpPr>
        <a:xfrm>
          <a:off x="0" y="0"/>
          <a:ext cx="0" cy="0"/>
          <a:chOff x="0" y="0"/>
          <a:chExt cx="0" cy="0"/>
        </a:xfrm>
      </p:grpSpPr>
      <p:pic>
        <p:nvPicPr>
          <p:cNvPr id="5122" name="Picture 2" descr="C:\Users\Sarah\Documents\_SSD_Business\Client_collateral\MICROSOFT_DVD_ART\MICROSOFT PHOTOS\STB13_Jaden_04.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flipH="1">
            <a:off x="-1" y="0"/>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18387420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731" y="0"/>
            <a:ext cx="12182534" cy="6857999"/>
          </a:xfrm>
          <a:prstGeom prst="rect">
            <a:avLst/>
          </a:prstGeom>
        </p:spPr>
      </p:pic>
      <p:sp>
        <p:nvSpPr>
          <p:cNvPr id="18" name="Rectangle 17"/>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5432618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_Title Slide 3">
    <p:spTree>
      <p:nvGrpSpPr>
        <p:cNvPr id="1" name=""/>
        <p:cNvGrpSpPr/>
        <p:nvPr/>
      </p:nvGrpSpPr>
      <p:grpSpPr>
        <a:xfrm>
          <a:off x="0" y="0"/>
          <a:ext cx="0" cy="0"/>
          <a:chOff x="0" y="0"/>
          <a:chExt cx="0" cy="0"/>
        </a:xfrm>
      </p:grpSpPr>
      <p:pic>
        <p:nvPicPr>
          <p:cNvPr id="2052" name="Picture 4" descr="C:\Users\Sarah\Documents\_SSD_Business\Client_collateral\MICROSOFT_DVD_ART\MICROSOFT PHOTOS\Picture1.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flipH="1">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1589053"/>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587349"/>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385271"/>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37489914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233001125"/>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33721874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19" y="471123"/>
            <a:ext cx="2507467" cy="537211"/>
          </a:xfrm>
          <a:prstGeom prst="rect">
            <a:avLst/>
          </a:prstGeom>
        </p:spPr>
      </p:pic>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376005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731" y="39756"/>
            <a:ext cx="12182534" cy="6857999"/>
          </a:xfrm>
          <a:prstGeom prst="rect">
            <a:avLst/>
          </a:prstGeom>
        </p:spPr>
      </p:pic>
      <p:sp>
        <p:nvSpPr>
          <p:cNvPr id="18" name="Rectangle 17"/>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12678225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6" y="0"/>
            <a:ext cx="12190269" cy="6857999"/>
          </a:xfrm>
          <a:prstGeom prst="rect">
            <a:avLst/>
          </a:prstGeom>
        </p:spPr>
      </p:pic>
      <p:sp>
        <p:nvSpPr>
          <p:cNvPr id="17" name="Rectangle 16"/>
          <p:cNvSpPr/>
          <p:nvPr userDrawn="1"/>
        </p:nvSpPr>
        <p:spPr bwMode="gray">
          <a:xfrm>
            <a:off x="269239" y="2084172"/>
            <a:ext cx="6274974" cy="3586208"/>
          </a:xfrm>
          <a:prstGeom prst="rect">
            <a:avLst/>
          </a:prstGeom>
          <a:solidFill>
            <a:schemeClr val="accent2">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80390"/>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16526235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bwMode="gray">
          <a:xfrm flipH="1">
            <a:off x="0" y="0"/>
            <a:ext cx="12192001" cy="6858000"/>
          </a:xfrm>
          <a:prstGeom prst="rect">
            <a:avLst/>
          </a:prstGeom>
        </p:spPr>
      </p:pic>
      <p:sp>
        <p:nvSpPr>
          <p:cNvPr id="17" name="Rectangle 16"/>
          <p:cNvSpPr/>
          <p:nvPr userDrawn="1"/>
        </p:nvSpPr>
        <p:spPr bwMode="gray">
          <a:xfrm>
            <a:off x="269239" y="2084172"/>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10537936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17" name="Rectangle 16"/>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69494"/>
            <a:ext cx="7172955"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2384149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64" y="-1"/>
            <a:ext cx="12190272" cy="6858001"/>
          </a:xfrm>
          <a:prstGeom prst="rect">
            <a:avLst/>
          </a:prstGeom>
        </p:spPr>
      </p:pic>
      <p:sp>
        <p:nvSpPr>
          <p:cNvPr id="18" name="Rectangle 17"/>
          <p:cNvSpPr/>
          <p:nvPr userDrawn="1"/>
        </p:nvSpPr>
        <p:spPr bwMode="gray">
          <a:xfrm>
            <a:off x="269239" y="1187621"/>
            <a:ext cx="6274974" cy="3586208"/>
          </a:xfrm>
          <a:prstGeom prst="rect">
            <a:avLst/>
          </a:prstGeom>
          <a:solidFill>
            <a:schemeClr val="accent2">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6276530" cy="179310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2980724"/>
            <a:ext cx="6274974"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60164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Slide 8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7" y="0"/>
            <a:ext cx="12201147" cy="685800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2084186"/>
            <a:ext cx="7171399" cy="3586194"/>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3"/>
            <a:ext cx="7171399" cy="1793104"/>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39" y="3877276"/>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9410651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6" y="0"/>
            <a:ext cx="12190269" cy="6857999"/>
          </a:xfrm>
          <a:prstGeom prst="rect">
            <a:avLst/>
          </a:prstGeom>
        </p:spPr>
      </p:pic>
      <p:sp>
        <p:nvSpPr>
          <p:cNvPr id="17" name="Rectangle 16"/>
          <p:cNvSpPr/>
          <p:nvPr userDrawn="1"/>
        </p:nvSpPr>
        <p:spPr bwMode="gray">
          <a:xfrm>
            <a:off x="269239" y="2084172"/>
            <a:ext cx="6274974" cy="3586208"/>
          </a:xfrm>
          <a:prstGeom prst="rect">
            <a:avLst/>
          </a:prstGeom>
          <a:solidFill>
            <a:schemeClr val="accent2">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80390"/>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31251608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129503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9490784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0978199"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0514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71798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564361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7993457"/>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5474313"/>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19336039"/>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5313223"/>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728711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6" y="0"/>
            <a:ext cx="12190269" cy="6857999"/>
          </a:xfrm>
          <a:prstGeom prst="rect">
            <a:avLst/>
          </a:prstGeom>
        </p:spPr>
      </p:pic>
      <p:sp>
        <p:nvSpPr>
          <p:cNvPr id="17" name="Rectangle 16"/>
          <p:cNvSpPr/>
          <p:nvPr userDrawn="1"/>
        </p:nvSpPr>
        <p:spPr bwMode="gray">
          <a:xfrm>
            <a:off x="269239" y="2084172"/>
            <a:ext cx="6274974" cy="3586208"/>
          </a:xfrm>
          <a:prstGeom prst="rect">
            <a:avLst/>
          </a:prstGeom>
          <a:solidFill>
            <a:schemeClr val="accent2">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80390"/>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297778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bwMode="gray">
          <a:xfrm flipH="1">
            <a:off x="0" y="0"/>
            <a:ext cx="12192001" cy="6858000"/>
          </a:xfrm>
          <a:prstGeom prst="rect">
            <a:avLst/>
          </a:prstGeom>
        </p:spPr>
      </p:pic>
      <p:sp>
        <p:nvSpPr>
          <p:cNvPr id="17" name="Rectangle 16"/>
          <p:cNvSpPr/>
          <p:nvPr userDrawn="1"/>
        </p:nvSpPr>
        <p:spPr bwMode="gray">
          <a:xfrm>
            <a:off x="269239" y="2084172"/>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16149322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5081594"/>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24331756"/>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0464551"/>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734157"/>
          </a:xfrm>
        </p:spPr>
        <p:txBody>
          <a:bodyPr/>
          <a:lstStyle>
            <a:lvl1pPr>
              <a:defRPr sz="4000">
                <a:solidFill>
                  <a:schemeClr val="tx2"/>
                </a:solidFill>
              </a:defRPr>
            </a:lvl1pPr>
          </a:lstStyle>
          <a:p>
            <a:r>
              <a:rPr lang="en-US" dirty="0"/>
              <a:t>Click to edit Master title style</a:t>
            </a:r>
          </a:p>
        </p:txBody>
      </p:sp>
      <p:sp>
        <p:nvSpPr>
          <p:cNvPr id="4" name="Text Placeholder 3"/>
          <p:cNvSpPr>
            <a:spLocks noGrp="1"/>
          </p:cNvSpPr>
          <p:nvPr>
            <p:ph type="body" sz="quarter" idx="10"/>
          </p:nvPr>
        </p:nvSpPr>
        <p:spPr>
          <a:xfrm>
            <a:off x="269240" y="854739"/>
            <a:ext cx="11655425" cy="572464"/>
          </a:xfrm>
        </p:spPr>
        <p:txBody>
          <a:bodyPr/>
          <a:lstStyle>
            <a:lvl1pPr marL="0" indent="0">
              <a:buNone/>
              <a:defRPr sz="2800">
                <a:solidFill>
                  <a:schemeClr val="accent1"/>
                </a:solidFill>
              </a:defRPr>
            </a:lvl1pPr>
            <a:lvl2pPr marL="336145" indent="0">
              <a:buNone/>
              <a:defRPr sz="2800">
                <a:solidFill>
                  <a:schemeClr val="accent1"/>
                </a:solidFill>
              </a:defRPr>
            </a:lvl2pPr>
            <a:lvl3pPr marL="560241" indent="0">
              <a:buNone/>
              <a:defRPr sz="2800">
                <a:solidFill>
                  <a:schemeClr val="accent1"/>
                </a:solidFill>
              </a:defRPr>
            </a:lvl3pPr>
            <a:lvl4pPr marL="784338" indent="0">
              <a:buNone/>
              <a:defRPr sz="2800">
                <a:solidFill>
                  <a:schemeClr val="accent1"/>
                </a:solidFill>
              </a:defRPr>
            </a:lvl4pPr>
            <a:lvl5pPr marL="1008434" indent="0">
              <a:buNone/>
              <a:defRPr sz="2800">
                <a:solidFill>
                  <a:schemeClr val="accent1"/>
                </a:solidFill>
              </a:defRPr>
            </a:lvl5pPr>
          </a:lstStyle>
          <a:p>
            <a:pPr lvl="0"/>
            <a:r>
              <a:rPr lang="en-US" dirty="0"/>
              <a:t>Click to edit Master text styles</a:t>
            </a:r>
          </a:p>
        </p:txBody>
      </p:sp>
    </p:spTree>
    <p:extLst>
      <p:ext uri="{BB962C8B-B14F-4D97-AF65-F5344CB8AC3E}">
        <p14:creationId xmlns:p14="http://schemas.microsoft.com/office/powerpoint/2010/main" val="2115463991"/>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8" name="Text Placeholder 23"/>
          <p:cNvSpPr>
            <a:spLocks noGrp="1"/>
          </p:cNvSpPr>
          <p:nvPr>
            <p:ph type="body" sz="quarter" idx="20"/>
          </p:nvPr>
        </p:nvSpPr>
        <p:spPr>
          <a:xfrm>
            <a:off x="9453682" y="1727787"/>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
        <p:nvSpPr>
          <p:cNvPr id="24" name="Text Placeholder 23"/>
          <p:cNvSpPr>
            <a:spLocks noGrp="1"/>
          </p:cNvSpPr>
          <p:nvPr>
            <p:ph type="body" sz="quarter" idx="16"/>
          </p:nvPr>
        </p:nvSpPr>
        <p:spPr>
          <a:xfrm>
            <a:off x="457200" y="1727863"/>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
        <p:nvSpPr>
          <p:cNvPr id="18" name="Picture Placeholder 17"/>
          <p:cNvSpPr>
            <a:spLocks noGrp="1"/>
          </p:cNvSpPr>
          <p:nvPr>
            <p:ph type="pic" sz="quarter" idx="11"/>
          </p:nvPr>
        </p:nvSpPr>
        <p:spPr>
          <a:xfrm>
            <a:off x="2706688" y="1727863"/>
            <a:ext cx="2249487" cy="2249488"/>
          </a:xfrm>
        </p:spPr>
        <p:txBody>
          <a:bodyPr/>
          <a:lstStyle/>
          <a:p>
            <a:endParaRPr lang="en-US"/>
          </a:p>
        </p:txBody>
      </p:sp>
      <p:sp>
        <p:nvSpPr>
          <p:cNvPr id="2" name="Title 1"/>
          <p:cNvSpPr>
            <a:spLocks noGrp="1"/>
          </p:cNvSpPr>
          <p:nvPr>
            <p:ph type="title"/>
          </p:nvPr>
        </p:nvSpPr>
        <p:spPr>
          <a:xfrm>
            <a:off x="269240" y="289511"/>
            <a:ext cx="11655840" cy="734157"/>
          </a:xfrm>
        </p:spPr>
        <p:txBody>
          <a:bodyPr/>
          <a:lstStyle>
            <a:lvl1pPr>
              <a:defRPr sz="4000"/>
            </a:lvl1pPr>
          </a:lstStyle>
          <a:p>
            <a:r>
              <a:rPr lang="en-US" dirty="0"/>
              <a:t>Click to edit Master title style</a:t>
            </a:r>
          </a:p>
        </p:txBody>
      </p:sp>
      <p:sp>
        <p:nvSpPr>
          <p:cNvPr id="4" name="Text Placeholder 3"/>
          <p:cNvSpPr>
            <a:spLocks noGrp="1"/>
          </p:cNvSpPr>
          <p:nvPr>
            <p:ph type="body" sz="quarter" idx="10"/>
          </p:nvPr>
        </p:nvSpPr>
        <p:spPr>
          <a:xfrm>
            <a:off x="269875" y="936625"/>
            <a:ext cx="11655425" cy="572464"/>
          </a:xfrm>
        </p:spPr>
        <p:txBody>
          <a:bodyPr/>
          <a:lstStyle>
            <a:lvl1pPr marL="0" indent="0">
              <a:buNone/>
              <a:defRPr sz="2800">
                <a:solidFill>
                  <a:schemeClr val="accent1"/>
                </a:solidFill>
              </a:defRPr>
            </a:lvl1pPr>
            <a:lvl2pPr marL="336145" indent="0">
              <a:buNone/>
              <a:defRPr sz="2800">
                <a:solidFill>
                  <a:schemeClr val="accent1"/>
                </a:solidFill>
              </a:defRPr>
            </a:lvl2pPr>
            <a:lvl3pPr marL="560241" indent="0">
              <a:buNone/>
              <a:defRPr sz="2800">
                <a:solidFill>
                  <a:schemeClr val="accent1"/>
                </a:solidFill>
              </a:defRPr>
            </a:lvl3pPr>
            <a:lvl4pPr marL="784338" indent="0">
              <a:buNone/>
              <a:defRPr sz="2800">
                <a:solidFill>
                  <a:schemeClr val="accent1"/>
                </a:solidFill>
              </a:defRPr>
            </a:lvl4pPr>
            <a:lvl5pPr marL="1008434" indent="0">
              <a:buNone/>
              <a:defRPr sz="2800">
                <a:solidFill>
                  <a:schemeClr val="accent1"/>
                </a:solidFill>
              </a:defRPr>
            </a:lvl5pPr>
          </a:lstStyle>
          <a:p>
            <a:pPr lvl="0"/>
            <a:r>
              <a:rPr lang="en-US" dirty="0"/>
              <a:t>Click to edit Master text styles</a:t>
            </a:r>
          </a:p>
        </p:txBody>
      </p:sp>
      <p:sp>
        <p:nvSpPr>
          <p:cNvPr id="19" name="Picture Placeholder 17"/>
          <p:cNvSpPr>
            <a:spLocks noGrp="1"/>
          </p:cNvSpPr>
          <p:nvPr>
            <p:ph type="pic" sz="quarter" idx="12"/>
          </p:nvPr>
        </p:nvSpPr>
        <p:spPr>
          <a:xfrm>
            <a:off x="7204490" y="1729003"/>
            <a:ext cx="2249487" cy="2249488"/>
          </a:xfrm>
        </p:spPr>
        <p:txBody>
          <a:bodyPr/>
          <a:lstStyle/>
          <a:p>
            <a:endParaRPr lang="en-US"/>
          </a:p>
        </p:txBody>
      </p:sp>
      <p:sp>
        <p:nvSpPr>
          <p:cNvPr id="20" name="Picture Placeholder 17"/>
          <p:cNvSpPr>
            <a:spLocks noGrp="1"/>
          </p:cNvSpPr>
          <p:nvPr>
            <p:ph type="pic" sz="quarter" idx="13"/>
          </p:nvPr>
        </p:nvSpPr>
        <p:spPr>
          <a:xfrm>
            <a:off x="457200" y="3979120"/>
            <a:ext cx="2249487" cy="2249488"/>
          </a:xfrm>
        </p:spPr>
        <p:txBody>
          <a:bodyPr/>
          <a:lstStyle/>
          <a:p>
            <a:endParaRPr lang="en-US" dirty="0"/>
          </a:p>
        </p:txBody>
      </p:sp>
      <p:sp>
        <p:nvSpPr>
          <p:cNvPr id="21" name="Picture Placeholder 17"/>
          <p:cNvSpPr>
            <a:spLocks noGrp="1"/>
          </p:cNvSpPr>
          <p:nvPr>
            <p:ph type="pic" sz="quarter" idx="14"/>
          </p:nvPr>
        </p:nvSpPr>
        <p:spPr>
          <a:xfrm>
            <a:off x="4955295" y="3979120"/>
            <a:ext cx="2249487" cy="2249488"/>
          </a:xfrm>
        </p:spPr>
        <p:txBody>
          <a:bodyPr/>
          <a:lstStyle/>
          <a:p>
            <a:endParaRPr lang="en-US"/>
          </a:p>
        </p:txBody>
      </p:sp>
      <p:sp>
        <p:nvSpPr>
          <p:cNvPr id="22" name="Picture Placeholder 17"/>
          <p:cNvSpPr>
            <a:spLocks noGrp="1"/>
          </p:cNvSpPr>
          <p:nvPr>
            <p:ph type="pic" sz="quarter" idx="15"/>
          </p:nvPr>
        </p:nvSpPr>
        <p:spPr>
          <a:xfrm>
            <a:off x="9453683" y="3979120"/>
            <a:ext cx="2249487" cy="2249488"/>
          </a:xfrm>
        </p:spPr>
        <p:txBody>
          <a:bodyPr/>
          <a:lstStyle/>
          <a:p>
            <a:endParaRPr lang="en-US"/>
          </a:p>
        </p:txBody>
      </p:sp>
      <p:sp>
        <p:nvSpPr>
          <p:cNvPr id="25" name="Text Placeholder 23"/>
          <p:cNvSpPr>
            <a:spLocks noGrp="1"/>
          </p:cNvSpPr>
          <p:nvPr>
            <p:ph type="body" sz="quarter" idx="17"/>
          </p:nvPr>
        </p:nvSpPr>
        <p:spPr>
          <a:xfrm>
            <a:off x="2706100" y="3978274"/>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
        <p:nvSpPr>
          <p:cNvPr id="26" name="Text Placeholder 23"/>
          <p:cNvSpPr>
            <a:spLocks noGrp="1"/>
          </p:cNvSpPr>
          <p:nvPr>
            <p:ph type="body" sz="quarter" idx="18"/>
          </p:nvPr>
        </p:nvSpPr>
        <p:spPr>
          <a:xfrm>
            <a:off x="4955294" y="1729003"/>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
        <p:nvSpPr>
          <p:cNvPr id="27" name="Text Placeholder 23"/>
          <p:cNvSpPr>
            <a:spLocks noGrp="1"/>
          </p:cNvSpPr>
          <p:nvPr>
            <p:ph type="body" sz="quarter" idx="19"/>
          </p:nvPr>
        </p:nvSpPr>
        <p:spPr>
          <a:xfrm>
            <a:off x="7204489" y="3979490"/>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2217235741"/>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734157"/>
          </a:xfrm>
        </p:spPr>
        <p:txBody>
          <a:bodyPr/>
          <a:lstStyle>
            <a:lvl1pPr>
              <a:defRPr sz="4000"/>
            </a:lvl1pPr>
          </a:lstStyle>
          <a:p>
            <a:r>
              <a:rPr lang="en-US" dirty="0"/>
              <a:t>Click to edit Master title style</a:t>
            </a:r>
          </a:p>
        </p:txBody>
      </p:sp>
      <p:sp>
        <p:nvSpPr>
          <p:cNvPr id="3" name="Text Placeholder 3"/>
          <p:cNvSpPr>
            <a:spLocks noGrp="1"/>
          </p:cNvSpPr>
          <p:nvPr>
            <p:ph type="body" sz="quarter" idx="10"/>
          </p:nvPr>
        </p:nvSpPr>
        <p:spPr>
          <a:xfrm>
            <a:off x="269875" y="936625"/>
            <a:ext cx="11655425" cy="572464"/>
          </a:xfrm>
        </p:spPr>
        <p:txBody>
          <a:bodyPr/>
          <a:lstStyle>
            <a:lvl1pPr marL="0" indent="0">
              <a:buNone/>
              <a:defRPr sz="2800">
                <a:solidFill>
                  <a:schemeClr val="accent1"/>
                </a:solidFill>
              </a:defRPr>
            </a:lvl1pPr>
            <a:lvl2pPr marL="336145" indent="0">
              <a:buNone/>
              <a:defRPr sz="2800">
                <a:solidFill>
                  <a:schemeClr val="accent1"/>
                </a:solidFill>
              </a:defRPr>
            </a:lvl2pPr>
            <a:lvl3pPr marL="560241" indent="0">
              <a:buNone/>
              <a:defRPr sz="2800">
                <a:solidFill>
                  <a:schemeClr val="accent1"/>
                </a:solidFill>
              </a:defRPr>
            </a:lvl3pPr>
            <a:lvl4pPr marL="784338" indent="0">
              <a:buNone/>
              <a:defRPr sz="2800">
                <a:solidFill>
                  <a:schemeClr val="accent1"/>
                </a:solidFill>
              </a:defRPr>
            </a:lvl4pPr>
            <a:lvl5pPr marL="1008434" indent="0">
              <a:buNone/>
              <a:defRPr sz="2800">
                <a:solidFill>
                  <a:schemeClr val="accent1"/>
                </a:solidFill>
              </a:defRPr>
            </a:lvl5pPr>
          </a:lstStyle>
          <a:p>
            <a:pPr lvl="0"/>
            <a:r>
              <a:rPr lang="en-US" dirty="0"/>
              <a:t>Click to edit Master text styles</a:t>
            </a:r>
          </a:p>
        </p:txBody>
      </p:sp>
    </p:spTree>
    <p:extLst>
      <p:ext uri="{BB962C8B-B14F-4D97-AF65-F5344CB8AC3E}">
        <p14:creationId xmlns:p14="http://schemas.microsoft.com/office/powerpoint/2010/main" val="31486766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1372501"/>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22250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10893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64325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17" name="Rectangle 16"/>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69494"/>
            <a:ext cx="7172955"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430528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2172419"/>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374160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3_Title Slide 3">
    <p:spTree>
      <p:nvGrpSpPr>
        <p:cNvPr id="1" name=""/>
        <p:cNvGrpSpPr/>
        <p:nvPr/>
      </p:nvGrpSpPr>
      <p:grpSpPr>
        <a:xfrm>
          <a:off x="0" y="0"/>
          <a:ext cx="0" cy="0"/>
          <a:chOff x="0" y="0"/>
          <a:chExt cx="0" cy="0"/>
        </a:xfrm>
      </p:grpSpPr>
      <p:pic>
        <p:nvPicPr>
          <p:cNvPr id="3074" name="Picture 2" descr="C:\Users\Sarah\Documents\_SSD_Business\Client_collateral\MICROSOFT_DVD_ART\MICROSOFT PHOTOS\Picture2.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23879833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4_Title Slide 3">
    <p:spTree>
      <p:nvGrpSpPr>
        <p:cNvPr id="1" name=""/>
        <p:cNvGrpSpPr/>
        <p:nvPr/>
      </p:nvGrpSpPr>
      <p:grpSpPr>
        <a:xfrm>
          <a:off x="0" y="0"/>
          <a:ext cx="0" cy="0"/>
          <a:chOff x="0" y="0"/>
          <a:chExt cx="0" cy="0"/>
        </a:xfrm>
      </p:grpSpPr>
      <p:pic>
        <p:nvPicPr>
          <p:cNvPr id="4099" name="Picture 3" descr="C:\Users\Sarah\Documents\_SSD_Business\Client_collateral\MICROSOFT_DVD_ART\MICROSOFT PHOTOS\Picture7.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29094393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6_Title Slide 3">
    <p:spTree>
      <p:nvGrpSpPr>
        <p:cNvPr id="1" name=""/>
        <p:cNvGrpSpPr/>
        <p:nvPr/>
      </p:nvGrpSpPr>
      <p:grpSpPr>
        <a:xfrm>
          <a:off x="0" y="0"/>
          <a:ext cx="0" cy="0"/>
          <a:chOff x="0" y="0"/>
          <a:chExt cx="0" cy="0"/>
        </a:xfrm>
      </p:grpSpPr>
      <p:pic>
        <p:nvPicPr>
          <p:cNvPr id="5122" name="Picture 2" descr="C:\Users\Sarah\Documents\_SSD_Business\Client_collateral\MICROSOFT_DVD_ART\MICROSOFT PHOTOS\STB13_Jaden_04.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flipH="1">
            <a:off x="-1" y="0"/>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37003009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2_Title Slide 3">
    <p:spTree>
      <p:nvGrpSpPr>
        <p:cNvPr id="1" name=""/>
        <p:cNvGrpSpPr/>
        <p:nvPr/>
      </p:nvGrpSpPr>
      <p:grpSpPr>
        <a:xfrm>
          <a:off x="0" y="0"/>
          <a:ext cx="0" cy="0"/>
          <a:chOff x="0" y="0"/>
          <a:chExt cx="0" cy="0"/>
        </a:xfrm>
      </p:grpSpPr>
      <p:pic>
        <p:nvPicPr>
          <p:cNvPr id="2052" name="Picture 4" descr="C:\Users\Sarah\Documents\_SSD_Business\Client_collateral\MICROSOFT_DVD_ART\MICROSOFT PHOTOS\Picture1.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flipH="1">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1589053"/>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587349"/>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385271"/>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30459370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655434375"/>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3215580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64" y="-1"/>
            <a:ext cx="12190272" cy="6858001"/>
          </a:xfrm>
          <a:prstGeom prst="rect">
            <a:avLst/>
          </a:prstGeom>
        </p:spPr>
      </p:pic>
      <p:sp>
        <p:nvSpPr>
          <p:cNvPr id="18" name="Rectangle 17"/>
          <p:cNvSpPr/>
          <p:nvPr userDrawn="1"/>
        </p:nvSpPr>
        <p:spPr bwMode="gray">
          <a:xfrm>
            <a:off x="269239" y="1187621"/>
            <a:ext cx="6274974" cy="3586208"/>
          </a:xfrm>
          <a:prstGeom prst="rect">
            <a:avLst/>
          </a:prstGeom>
          <a:solidFill>
            <a:schemeClr val="accent2">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6276530" cy="179310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2980724"/>
            <a:ext cx="6274974"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35034172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8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7" y="0"/>
            <a:ext cx="12201147" cy="685800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2084186"/>
            <a:ext cx="7171399" cy="3586194"/>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3"/>
            <a:ext cx="7171399" cy="1793104"/>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39" y="3877276"/>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2594519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056510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9118204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54028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09907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308962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1407325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bwMode="gray">
          <a:xfrm flipH="1">
            <a:off x="0" y="0"/>
            <a:ext cx="12192001" cy="6858000"/>
          </a:xfrm>
          <a:prstGeom prst="rect">
            <a:avLst/>
          </a:prstGeom>
        </p:spPr>
      </p:pic>
      <p:sp>
        <p:nvSpPr>
          <p:cNvPr id="17" name="Rectangle 16"/>
          <p:cNvSpPr/>
          <p:nvPr userDrawn="1"/>
        </p:nvSpPr>
        <p:spPr bwMode="gray">
          <a:xfrm>
            <a:off x="269239" y="2084172"/>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15368989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525535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783316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887379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497271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713882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9313247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346527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980451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75111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76233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17" name="Rectangle 16"/>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69494"/>
            <a:ext cx="7172955"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3716275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75414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64768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98466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13910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Title Slide 3">
    <p:spTree>
      <p:nvGrpSpPr>
        <p:cNvPr id="1" name=""/>
        <p:cNvGrpSpPr/>
        <p:nvPr/>
      </p:nvGrpSpPr>
      <p:grpSpPr>
        <a:xfrm>
          <a:off x="0" y="0"/>
          <a:ext cx="0" cy="0"/>
          <a:chOff x="0" y="0"/>
          <a:chExt cx="0" cy="0"/>
        </a:xfrm>
      </p:grpSpPr>
      <p:pic>
        <p:nvPicPr>
          <p:cNvPr id="3074" name="Picture 2" descr="C:\Users\Sarah\Documents\_SSD_Business\Client_collateral\MICROSOFT_DVD_ART\MICROSOFT PHOTOS\Picture2.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1972292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_Title Slide 3">
    <p:spTree>
      <p:nvGrpSpPr>
        <p:cNvPr id="1" name=""/>
        <p:cNvGrpSpPr/>
        <p:nvPr/>
      </p:nvGrpSpPr>
      <p:grpSpPr>
        <a:xfrm>
          <a:off x="0" y="0"/>
          <a:ext cx="0" cy="0"/>
          <a:chOff x="0" y="0"/>
          <a:chExt cx="0" cy="0"/>
        </a:xfrm>
      </p:grpSpPr>
      <p:pic>
        <p:nvPicPr>
          <p:cNvPr id="4099" name="Picture 3" descr="C:\Users\Sarah\Documents\_SSD_Business\Client_collateral\MICROSOFT_DVD_ART\MICROSOFT PHOTOS\Picture7.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25640120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Title Slide 3">
    <p:spTree>
      <p:nvGrpSpPr>
        <p:cNvPr id="1" name=""/>
        <p:cNvGrpSpPr/>
        <p:nvPr/>
      </p:nvGrpSpPr>
      <p:grpSpPr>
        <a:xfrm>
          <a:off x="0" y="0"/>
          <a:ext cx="0" cy="0"/>
          <a:chOff x="0" y="0"/>
          <a:chExt cx="0" cy="0"/>
        </a:xfrm>
      </p:grpSpPr>
      <p:pic>
        <p:nvPicPr>
          <p:cNvPr id="5122" name="Picture 2" descr="C:\Users\Sarah\Documents\_SSD_Business\Client_collateral\MICROSOFT_DVD_ART\MICROSOFT PHOTOS\STB13_Jaden_04.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flipH="1">
            <a:off x="-1" y="0"/>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30251207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lide 3">
    <p:spTree>
      <p:nvGrpSpPr>
        <p:cNvPr id="1" name=""/>
        <p:cNvGrpSpPr/>
        <p:nvPr/>
      </p:nvGrpSpPr>
      <p:grpSpPr>
        <a:xfrm>
          <a:off x="0" y="0"/>
          <a:ext cx="0" cy="0"/>
          <a:chOff x="0" y="0"/>
          <a:chExt cx="0" cy="0"/>
        </a:xfrm>
      </p:grpSpPr>
      <p:pic>
        <p:nvPicPr>
          <p:cNvPr id="2052" name="Picture 4" descr="C:\Users\Sarah\Documents\_SSD_Business\Client_collateral\MICROSOFT_DVD_ART\MICROSOFT PHOTOS\Picture1.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flipH="1">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1589053"/>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587349"/>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385271"/>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3171877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with photo">
    <p:spTree>
      <p:nvGrpSpPr>
        <p:cNvPr id="1" name=""/>
        <p:cNvGrpSpPr/>
        <p:nvPr/>
      </p:nvGrpSpPr>
      <p:grpSpPr>
        <a:xfrm>
          <a:off x="0" y="0"/>
          <a:ext cx="0" cy="0"/>
          <a:chOff x="0" y="0"/>
          <a:chExt cx="0" cy="0"/>
        </a:xfrm>
      </p:grpSpPr>
      <p:sp>
        <p:nvSpPr>
          <p:cNvPr id="8" name="Rectangle 7"/>
          <p:cNvSpPr/>
          <p:nvPr userDrawn="1"/>
        </p:nvSpPr>
        <p:spPr bwMode="gray">
          <a:xfrm>
            <a:off x="190550" y="2622897"/>
            <a:ext cx="6031984" cy="3597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solidFill>
                <a:srgbClr val="000000"/>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9947" y="2608425"/>
            <a:ext cx="5487829" cy="2747751"/>
          </a:xfrm>
          <a:noFill/>
        </p:spPr>
        <p:txBody>
          <a:bodyPr vert="horz" lIns="137160" tIns="137160" rIns="137160" bIns="137160" rtlCol="0" anchor="t" anchorCtr="0">
            <a:normAutofit/>
          </a:bodyPr>
          <a:lstStyle>
            <a:lvl1pPr>
              <a:defRPr lang="en-US" sz="4400" spc="-98" dirty="0">
                <a:solidFill>
                  <a:srgbClr val="000000"/>
                </a:solidFill>
              </a:defRPr>
            </a:lvl1pPr>
          </a:lstStyle>
          <a:p>
            <a:pPr lvl="0"/>
            <a:r>
              <a:rPr lang="en-US" dirty="0"/>
              <a:t>Presentation title</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0248" y="274206"/>
            <a:ext cx="1947103" cy="716043"/>
          </a:xfrm>
          <a:prstGeom prst="rect">
            <a:avLst/>
          </a:prstGeom>
        </p:spPr>
      </p:pic>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197060" y="234377"/>
            <a:ext cx="1947103" cy="716042"/>
          </a:xfrm>
          <a:prstGeom prst="rect">
            <a:avLst/>
          </a:prstGeom>
        </p:spPr>
      </p:pic>
      <p:sp>
        <p:nvSpPr>
          <p:cNvPr id="10" name="TextBox 9"/>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505050"/>
                </a:solidFill>
                <a:ea typeface="Segoe UI" pitchFamily="34" charset="0"/>
                <a:cs typeface="Segoe UI" pitchFamily="34" charset="0"/>
              </a:rPr>
              <a:t>Click View &gt; Slide Master to insert a photo as a background behind the colored boxes.</a:t>
            </a:r>
          </a:p>
        </p:txBody>
      </p:sp>
      <p:sp>
        <p:nvSpPr>
          <p:cNvPr id="3" name="Text Placeholder 2"/>
          <p:cNvSpPr>
            <a:spLocks noGrp="1"/>
          </p:cNvSpPr>
          <p:nvPr>
            <p:ph type="body" sz="quarter" idx="16" hasCustomPrompt="1"/>
          </p:nvPr>
        </p:nvSpPr>
        <p:spPr>
          <a:xfrm>
            <a:off x="340302" y="4894384"/>
            <a:ext cx="5487829" cy="914400"/>
          </a:xfrm>
        </p:spPr>
        <p:txBody>
          <a:bodyPr>
            <a:normAutofit/>
          </a:bodyPr>
          <a:lstStyle>
            <a:lvl1pPr>
              <a:defRPr sz="1600">
                <a:solidFill>
                  <a:srgbClr val="000000"/>
                </a:solidFill>
              </a:defRPr>
            </a:lvl1pPr>
          </a:lstStyle>
          <a:p>
            <a:pPr lvl="0"/>
            <a:r>
              <a:rPr lang="en-US" dirty="0"/>
              <a:t>Speaker Name</a:t>
            </a:r>
          </a:p>
        </p:txBody>
      </p:sp>
      <p:sp>
        <p:nvSpPr>
          <p:cNvPr id="14" name="TextBox 13"/>
          <p:cNvSpPr txBox="1"/>
          <p:nvPr userDrawn="1"/>
        </p:nvSpPr>
        <p:spPr>
          <a:xfrm>
            <a:off x="409461" y="5735992"/>
            <a:ext cx="4850552" cy="342654"/>
          </a:xfrm>
          <a:prstGeom prst="rect">
            <a:avLst/>
          </a:prstGeom>
        </p:spPr>
        <p:txBody>
          <a:bodyPr vert="horz" wrap="square" lIns="0" tIns="0" rIns="0" bIns="0" rtlCol="0" anchor="t">
            <a:noAutofit/>
          </a:bodyPr>
          <a:lstStyle/>
          <a:p>
            <a:pPr defTabSz="1088105">
              <a:buClr>
                <a:srgbClr val="00BCF2"/>
              </a:buClr>
              <a:buFont typeface="Wingdings" pitchFamily="2" charset="2"/>
              <a:buNone/>
            </a:pPr>
            <a:r>
              <a:rPr lang="en-US" sz="2400" dirty="0">
                <a:solidFill>
                  <a:srgbClr val="000000"/>
                </a:solidFill>
                <a:ea typeface="Segoe UI" pitchFamily="34" charset="0"/>
                <a:cs typeface="Segoe UI" pitchFamily="34" charset="0"/>
              </a:rPr>
              <a:t>Real Impact for Better Government</a:t>
            </a:r>
          </a:p>
        </p:txBody>
      </p:sp>
    </p:spTree>
    <p:extLst>
      <p:ext uri="{BB962C8B-B14F-4D97-AF65-F5344CB8AC3E}">
        <p14:creationId xmlns:p14="http://schemas.microsoft.com/office/powerpoint/2010/main" val="5385206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EXAMPLE ONLY: Title with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l="326" t="10785" r="8344" b="11544"/>
          <a:stretch/>
        </p:blipFill>
        <p:spPr>
          <a:xfrm>
            <a:off x="1" y="-42042"/>
            <a:ext cx="12191999" cy="6905297"/>
          </a:xfrm>
          <a:prstGeom prst="rect">
            <a:avLst/>
          </a:prstGeom>
        </p:spPr>
      </p:pic>
      <p:sp>
        <p:nvSpPr>
          <p:cNvPr id="5" name="TextBox 4"/>
          <p:cNvSpPr txBox="1"/>
          <p:nvPr userDrawn="1"/>
        </p:nvSpPr>
        <p:spPr>
          <a:xfrm>
            <a:off x="13660420" y="9412941"/>
            <a:ext cx="914638" cy="914400"/>
          </a:xfrm>
          <a:prstGeom prst="rect">
            <a:avLst/>
          </a:prstGeom>
        </p:spPr>
        <p:txBody>
          <a:bodyPr vert="horz" wrap="none" lIns="0" tIns="0" rIns="0" bIns="0" rtlCol="0" anchor="t">
            <a:noAutofit/>
          </a:bodyPr>
          <a:lstStyle/>
          <a:p>
            <a:pPr marL="171450" indent="-171450" defTabSz="1088105">
              <a:buClr>
                <a:srgbClr val="00BCF2"/>
              </a:buClr>
              <a:buFont typeface="Wingdings" pitchFamily="2" charset="2"/>
              <a:buChar char="§"/>
            </a:pPr>
            <a:endParaRPr lang="en-US" sz="1200" dirty="0">
              <a:solidFill>
                <a:prstClr val="white"/>
              </a:solidFill>
              <a:ea typeface="Segoe UI" pitchFamily="34" charset="0"/>
              <a:cs typeface="Segoe UI" pitchFamily="34" charset="0"/>
            </a:endParaRP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0248" y="224439"/>
            <a:ext cx="1947103" cy="71604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318239" y="224438"/>
            <a:ext cx="1947103" cy="716042"/>
          </a:xfrm>
          <a:prstGeom prst="rect">
            <a:avLst/>
          </a:prstGeom>
        </p:spPr>
      </p:pic>
    </p:spTree>
    <p:extLst>
      <p:ext uri="{BB962C8B-B14F-4D97-AF65-F5344CB8AC3E}">
        <p14:creationId xmlns:p14="http://schemas.microsoft.com/office/powerpoint/2010/main" val="23979071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64" y="-1"/>
            <a:ext cx="12190272" cy="6858001"/>
          </a:xfrm>
          <a:prstGeom prst="rect">
            <a:avLst/>
          </a:prstGeom>
        </p:spPr>
      </p:pic>
      <p:sp>
        <p:nvSpPr>
          <p:cNvPr id="18" name="Rectangle 17"/>
          <p:cNvSpPr/>
          <p:nvPr userDrawn="1"/>
        </p:nvSpPr>
        <p:spPr bwMode="gray">
          <a:xfrm>
            <a:off x="269239" y="1187621"/>
            <a:ext cx="6274974" cy="3586208"/>
          </a:xfrm>
          <a:prstGeom prst="rect">
            <a:avLst/>
          </a:prstGeom>
          <a:solidFill>
            <a:schemeClr val="accent2">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6276530" cy="179310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2980724"/>
            <a:ext cx="6274974"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38364372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no photo">
    <p:bg>
      <p:bgPr>
        <a:solidFill>
          <a:schemeClr val="bg2"/>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0248" y="224438"/>
            <a:ext cx="1947103" cy="716042"/>
          </a:xfrm>
          <a:prstGeom prst="rect">
            <a:avLst/>
          </a:prstGeom>
        </p:spPr>
      </p:pic>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71610" y="274206"/>
            <a:ext cx="1947103" cy="716043"/>
          </a:xfrm>
          <a:prstGeom prst="rect">
            <a:avLst/>
          </a:prstGeom>
        </p:spPr>
      </p:pic>
      <p:sp>
        <p:nvSpPr>
          <p:cNvPr id="7" name="Rectangle 6"/>
          <p:cNvSpPr/>
          <p:nvPr userDrawn="1"/>
        </p:nvSpPr>
        <p:spPr bwMode="gray">
          <a:xfrm>
            <a:off x="190550" y="2622897"/>
            <a:ext cx="6031984" cy="3597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solidFill>
                <a:prstClr val="white"/>
              </a:solidFill>
              <a:ea typeface="Segoe UI" pitchFamily="34" charset="0"/>
              <a:cs typeface="Segoe UI" pitchFamily="34" charset="0"/>
            </a:endParaRPr>
          </a:p>
        </p:txBody>
      </p:sp>
      <p:sp>
        <p:nvSpPr>
          <p:cNvPr id="8" name="Title 1"/>
          <p:cNvSpPr>
            <a:spLocks noGrp="1"/>
          </p:cNvSpPr>
          <p:nvPr>
            <p:ph type="title" hasCustomPrompt="1"/>
          </p:nvPr>
        </p:nvSpPr>
        <p:spPr bwMode="ltGray">
          <a:xfrm>
            <a:off x="269947" y="2608425"/>
            <a:ext cx="5487829" cy="2747751"/>
          </a:xfrm>
          <a:noFill/>
        </p:spPr>
        <p:txBody>
          <a:bodyPr vert="horz" lIns="137160" tIns="137160" rIns="137160" bIns="137160" rtlCol="0" anchor="t" anchorCtr="0">
            <a:normAutofit/>
          </a:bodyPr>
          <a:lstStyle>
            <a:lvl1pPr>
              <a:defRPr lang="en-US" sz="4400" spc="-98" dirty="0">
                <a:solidFill>
                  <a:srgbClr val="000000"/>
                </a:solidFill>
              </a:defRPr>
            </a:lvl1pPr>
          </a:lstStyle>
          <a:p>
            <a:pPr lvl="0"/>
            <a:r>
              <a:rPr lang="en-US" dirty="0"/>
              <a:t>Presentation title</a:t>
            </a:r>
          </a:p>
        </p:txBody>
      </p:sp>
      <p:sp>
        <p:nvSpPr>
          <p:cNvPr id="3" name="Text Placeholder 2"/>
          <p:cNvSpPr>
            <a:spLocks noGrp="1"/>
          </p:cNvSpPr>
          <p:nvPr>
            <p:ph type="body" sz="quarter" idx="16" hasCustomPrompt="1"/>
          </p:nvPr>
        </p:nvSpPr>
        <p:spPr>
          <a:xfrm>
            <a:off x="354226" y="4900246"/>
            <a:ext cx="5487829" cy="823669"/>
          </a:xfrm>
        </p:spPr>
        <p:txBody>
          <a:bodyPr>
            <a:normAutofit/>
          </a:bodyPr>
          <a:lstStyle>
            <a:lvl1pPr>
              <a:defRPr sz="1600">
                <a:solidFill>
                  <a:srgbClr val="000000"/>
                </a:solidFill>
              </a:defRPr>
            </a:lvl1pPr>
          </a:lstStyle>
          <a:p>
            <a:pPr lvl="0"/>
            <a:r>
              <a:rPr lang="en-US" dirty="0"/>
              <a:t>Speaker Name</a:t>
            </a:r>
          </a:p>
        </p:txBody>
      </p:sp>
      <p:sp>
        <p:nvSpPr>
          <p:cNvPr id="9" name="TextBox 8"/>
          <p:cNvSpPr txBox="1"/>
          <p:nvPr userDrawn="1"/>
        </p:nvSpPr>
        <p:spPr>
          <a:xfrm>
            <a:off x="409461" y="5735992"/>
            <a:ext cx="4850552" cy="342654"/>
          </a:xfrm>
          <a:prstGeom prst="rect">
            <a:avLst/>
          </a:prstGeom>
        </p:spPr>
        <p:txBody>
          <a:bodyPr vert="horz" wrap="square" lIns="0" tIns="0" rIns="0" bIns="0" rtlCol="0" anchor="t">
            <a:noAutofit/>
          </a:bodyPr>
          <a:lstStyle/>
          <a:p>
            <a:pPr defTabSz="1088105">
              <a:buClr>
                <a:srgbClr val="00BCF2"/>
              </a:buClr>
              <a:buFont typeface="Wingdings" pitchFamily="2" charset="2"/>
              <a:buNone/>
            </a:pPr>
            <a:r>
              <a:rPr lang="en-US" sz="2400" dirty="0">
                <a:solidFill>
                  <a:srgbClr val="000000"/>
                </a:solidFill>
                <a:ea typeface="Segoe UI" pitchFamily="34" charset="0"/>
                <a:cs typeface="Segoe UI" pitchFamily="34" charset="0"/>
              </a:rPr>
              <a:t>Real Impact for Better Government</a:t>
            </a:r>
          </a:p>
        </p:txBody>
      </p:sp>
    </p:spTree>
    <p:extLst>
      <p:ext uri="{BB962C8B-B14F-4D97-AF65-F5344CB8AC3E}">
        <p14:creationId xmlns:p14="http://schemas.microsoft.com/office/powerpoint/2010/main" val="27823291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19096" y="791867"/>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355582" y="1600200"/>
            <a:ext cx="11345600"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9167486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10972" y="791867"/>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290855780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otation">
    <p:spTree>
      <p:nvGrpSpPr>
        <p:cNvPr id="1" name=""/>
        <p:cNvGrpSpPr/>
        <p:nvPr/>
      </p:nvGrpSpPr>
      <p:grpSpPr>
        <a:xfrm>
          <a:off x="0" y="0"/>
          <a:ext cx="0" cy="0"/>
          <a:chOff x="0" y="0"/>
          <a:chExt cx="0" cy="0"/>
        </a:xfrm>
      </p:grpSpPr>
      <p:sp>
        <p:nvSpPr>
          <p:cNvPr id="9" name="Picture Placeholder 8"/>
          <p:cNvSpPr>
            <a:spLocks noGrp="1"/>
          </p:cNvSpPr>
          <p:nvPr>
            <p:ph type="pic" sz="quarter" idx="14" hasCustomPrompt="1"/>
          </p:nvPr>
        </p:nvSpPr>
        <p:spPr>
          <a:xfrm>
            <a:off x="1" y="0"/>
            <a:ext cx="12192000" cy="6858000"/>
          </a:xfrm>
        </p:spPr>
        <p:txBody>
          <a:bodyPr/>
          <a:lstStyle>
            <a:lvl1pPr>
              <a:defRPr/>
            </a:lvl1pPr>
          </a:lstStyle>
          <a:p>
            <a:r>
              <a:rPr lang="en-US" dirty="0"/>
              <a:t>Click to add picture</a:t>
            </a:r>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401839437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ext Placeholder 9"/>
          <p:cNvSpPr>
            <a:spLocks noGrp="1"/>
          </p:cNvSpPr>
          <p:nvPr>
            <p:ph type="body" sz="quarter" idx="13"/>
          </p:nvPr>
        </p:nvSpPr>
        <p:spPr>
          <a:xfrm>
            <a:off x="3048000" y="6467476"/>
            <a:ext cx="8382000" cy="388938"/>
          </a:xfrm>
          <a:prstGeom prst="rect">
            <a:avLst/>
          </a:prstGeom>
        </p:spPr>
        <p:txBody>
          <a:bodyPr anchor="ctr"/>
          <a:lstStyle>
            <a:lvl1pPr marL="0" indent="0">
              <a:buNone/>
              <a:defRPr sz="800">
                <a:solidFill>
                  <a:schemeClr val="tx1"/>
                </a:solidFill>
              </a:defRPr>
            </a:lvl1pPr>
          </a:lstStyle>
          <a:p>
            <a:pPr lvl="0"/>
            <a:r>
              <a:rPr lang="en-US"/>
              <a:t>Click to edit Master text styles</a:t>
            </a:r>
          </a:p>
        </p:txBody>
      </p:sp>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Tree>
    <p:extLst>
      <p:ext uri="{BB962C8B-B14F-4D97-AF65-F5344CB8AC3E}">
        <p14:creationId xmlns:p14="http://schemas.microsoft.com/office/powerpoint/2010/main" val="151142877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4" name="Picture 3" descr="10GRID2a.jpg"/>
          <p:cNvPicPr>
            <a:picLocks noChangeAspect="1"/>
          </p:cNvPicPr>
          <p:nvPr userDrawn="1"/>
        </p:nvPicPr>
        <p:blipFill>
          <a:blip r:embed="rId2">
            <a:alphaModFix amt="58000"/>
            <a:extLst>
              <a:ext uri="{28A0092B-C50C-407E-A947-70E740481C1C}">
                <a14:useLocalDpi xmlns:a14="http://schemas.microsoft.com/office/drawing/2010/main"/>
              </a:ext>
            </a:extLst>
          </a:blip>
          <a:stretch>
            <a:fillRect/>
          </a:stretch>
        </p:blipFill>
        <p:spPr>
          <a:xfrm>
            <a:off x="0" y="-1"/>
            <a:ext cx="12192826" cy="6856679"/>
          </a:xfrm>
          <a:prstGeom prst="rect">
            <a:avLst/>
          </a:prstGeom>
        </p:spPr>
      </p:pic>
      <p:grpSp>
        <p:nvGrpSpPr>
          <p:cNvPr id="2" name="Group 1"/>
          <p:cNvGrpSpPr/>
          <p:nvPr userDrawn="1"/>
        </p:nvGrpSpPr>
        <p:grpSpPr>
          <a:xfrm>
            <a:off x="185326" y="2326039"/>
            <a:ext cx="11836065" cy="4398590"/>
            <a:chOff x="185277" y="2326039"/>
            <a:chExt cx="12064064" cy="4484488"/>
          </a:xfrm>
        </p:grpSpPr>
        <p:sp>
          <p:nvSpPr>
            <p:cNvPr id="8" name="Rectangle 7"/>
            <p:cNvSpPr/>
            <p:nvPr userDrawn="1"/>
          </p:nvSpPr>
          <p:spPr bwMode="auto">
            <a:xfrm>
              <a:off x="18527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 name="Rectangle 8"/>
            <p:cNvSpPr/>
            <p:nvPr userDrawn="1"/>
          </p:nvSpPr>
          <p:spPr bwMode="auto">
            <a:xfrm>
              <a:off x="1700271"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0" name="Rectangle 9"/>
            <p:cNvSpPr/>
            <p:nvPr userDrawn="1"/>
          </p:nvSpPr>
          <p:spPr bwMode="auto">
            <a:xfrm>
              <a:off x="3215265"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1" name="Rectangle 10"/>
            <p:cNvSpPr/>
            <p:nvPr userDrawn="1"/>
          </p:nvSpPr>
          <p:spPr bwMode="auto">
            <a:xfrm>
              <a:off x="4730259"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2" name="Rectangle 11"/>
            <p:cNvSpPr/>
            <p:nvPr userDrawn="1"/>
          </p:nvSpPr>
          <p:spPr bwMode="auto">
            <a:xfrm>
              <a:off x="6245253"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 name="Rectangle 12"/>
            <p:cNvSpPr/>
            <p:nvPr userDrawn="1"/>
          </p:nvSpPr>
          <p:spPr bwMode="auto">
            <a:xfrm>
              <a:off x="776024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4" name="Rectangle 13"/>
            <p:cNvSpPr/>
            <p:nvPr userDrawn="1"/>
          </p:nvSpPr>
          <p:spPr bwMode="auto">
            <a:xfrm>
              <a:off x="9275241"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15" name="Group 14"/>
            <p:cNvGrpSpPr/>
            <p:nvPr userDrawn="1"/>
          </p:nvGrpSpPr>
          <p:grpSpPr>
            <a:xfrm>
              <a:off x="185277" y="2326039"/>
              <a:ext cx="12064064" cy="1459104"/>
              <a:chOff x="185277" y="2031977"/>
              <a:chExt cx="12064064" cy="1459104"/>
            </a:xfrm>
          </p:grpSpPr>
          <p:sp>
            <p:nvSpPr>
              <p:cNvPr id="16" name="Rectangle 15"/>
              <p:cNvSpPr/>
              <p:nvPr/>
            </p:nvSpPr>
            <p:spPr bwMode="auto">
              <a:xfrm>
                <a:off x="18527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7" name="Rectangle 16"/>
              <p:cNvSpPr/>
              <p:nvPr/>
            </p:nvSpPr>
            <p:spPr bwMode="auto">
              <a:xfrm>
                <a:off x="1700271"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8" name="Rectangle 17"/>
              <p:cNvSpPr/>
              <p:nvPr/>
            </p:nvSpPr>
            <p:spPr bwMode="auto">
              <a:xfrm>
                <a:off x="3215265"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9" name="Rectangle 18"/>
              <p:cNvSpPr/>
              <p:nvPr/>
            </p:nvSpPr>
            <p:spPr bwMode="auto">
              <a:xfrm>
                <a:off x="4730259"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0" name="Rectangle 19"/>
              <p:cNvSpPr/>
              <p:nvPr/>
            </p:nvSpPr>
            <p:spPr bwMode="auto">
              <a:xfrm>
                <a:off x="6245253"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1" name="Rectangle 20"/>
              <p:cNvSpPr/>
              <p:nvPr/>
            </p:nvSpPr>
            <p:spPr bwMode="auto">
              <a:xfrm>
                <a:off x="776024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2" name="Rectangle 21"/>
              <p:cNvSpPr/>
              <p:nvPr/>
            </p:nvSpPr>
            <p:spPr bwMode="auto">
              <a:xfrm>
                <a:off x="9275241"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3" name="Rectangle 22"/>
              <p:cNvSpPr/>
              <p:nvPr/>
            </p:nvSpPr>
            <p:spPr bwMode="auto">
              <a:xfrm>
                <a:off x="1079023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24" name="Group 23"/>
            <p:cNvGrpSpPr/>
            <p:nvPr userDrawn="1"/>
          </p:nvGrpSpPr>
          <p:grpSpPr>
            <a:xfrm>
              <a:off x="185277" y="3845414"/>
              <a:ext cx="12064064" cy="1459104"/>
              <a:chOff x="185277" y="3564719"/>
              <a:chExt cx="12064064" cy="1459104"/>
            </a:xfrm>
          </p:grpSpPr>
          <p:sp>
            <p:nvSpPr>
              <p:cNvPr id="25" name="Rectangle 24"/>
              <p:cNvSpPr/>
              <p:nvPr/>
            </p:nvSpPr>
            <p:spPr bwMode="auto">
              <a:xfrm>
                <a:off x="18527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6" name="Rectangle 25"/>
              <p:cNvSpPr/>
              <p:nvPr/>
            </p:nvSpPr>
            <p:spPr bwMode="auto">
              <a:xfrm>
                <a:off x="1700271"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7" name="Rectangle 26"/>
              <p:cNvSpPr/>
              <p:nvPr/>
            </p:nvSpPr>
            <p:spPr bwMode="auto">
              <a:xfrm>
                <a:off x="3215265"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8" name="Rectangle 27"/>
              <p:cNvSpPr/>
              <p:nvPr/>
            </p:nvSpPr>
            <p:spPr bwMode="auto">
              <a:xfrm>
                <a:off x="4730259"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9" name="Rectangle 28"/>
              <p:cNvSpPr/>
              <p:nvPr/>
            </p:nvSpPr>
            <p:spPr bwMode="auto">
              <a:xfrm>
                <a:off x="6245253"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0" name="Rectangle 29"/>
              <p:cNvSpPr/>
              <p:nvPr/>
            </p:nvSpPr>
            <p:spPr bwMode="auto">
              <a:xfrm>
                <a:off x="776024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1" name="Rectangle 30"/>
              <p:cNvSpPr/>
              <p:nvPr/>
            </p:nvSpPr>
            <p:spPr bwMode="auto">
              <a:xfrm>
                <a:off x="9275241"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2" name="Rectangle 31"/>
              <p:cNvSpPr/>
              <p:nvPr/>
            </p:nvSpPr>
            <p:spPr bwMode="auto">
              <a:xfrm>
                <a:off x="1079023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33" name="Rectangle 32"/>
            <p:cNvSpPr/>
            <p:nvPr userDrawn="1"/>
          </p:nvSpPr>
          <p:spPr bwMode="auto">
            <a:xfrm>
              <a:off x="1079023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34" name="Title 1"/>
          <p:cNvSpPr>
            <a:spLocks noGrp="1"/>
          </p:cNvSpPr>
          <p:nvPr>
            <p:ph type="title"/>
          </p:nvPr>
        </p:nvSpPr>
        <p:spPr>
          <a:xfrm>
            <a:off x="79397" y="267869"/>
            <a:ext cx="12192000" cy="646042"/>
          </a:xfrm>
        </p:spPr>
        <p:txBody>
          <a:bodyPr>
            <a:noAutofit/>
          </a:bodyPr>
          <a:lstStyle>
            <a:lvl1pPr>
              <a:defRPr/>
            </a:lvl1pPr>
          </a:lstStyle>
          <a:p>
            <a:r>
              <a:rPr lang="en-US"/>
              <a:t>Click to edit Master title style</a:t>
            </a:r>
            <a:endParaRPr lang="en-US" dirty="0"/>
          </a:p>
        </p:txBody>
      </p:sp>
      <p:sp>
        <p:nvSpPr>
          <p:cNvPr id="35" name="Text Placeholder 5"/>
          <p:cNvSpPr>
            <a:spLocks noGrp="1"/>
          </p:cNvSpPr>
          <p:nvPr>
            <p:ph type="body" sz="quarter" idx="13" hasCustomPrompt="1"/>
          </p:nvPr>
        </p:nvSpPr>
        <p:spPr>
          <a:xfrm>
            <a:off x="119096" y="791867"/>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205051710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ransition pag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73766"/>
          </a:xfrm>
          <a:prstGeom prst="rect">
            <a:avLst/>
          </a:prstGeom>
        </p:spPr>
      </p:pic>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6" name="Rectangle 5"/>
          <p:cNvSpPr/>
          <p:nvPr userDrawn="1"/>
        </p:nvSpPr>
        <p:spPr>
          <a:xfrm>
            <a:off x="274710" y="2582863"/>
            <a:ext cx="6911355" cy="3664420"/>
          </a:xfrm>
          <a:prstGeom prst="rect">
            <a:avLst/>
          </a:prstGeom>
          <a:solidFill>
            <a:schemeClr val="accent1">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4244" tIns="147395" rIns="184244" bIns="147395" rtlCol="0" anchor="t" anchorCtr="0"/>
          <a:lstStyle/>
          <a:p>
            <a:pPr defTabSz="1088105"/>
            <a:endParaRPr lang="en-US" sz="2400" dirty="0">
              <a:solidFill>
                <a:prstClr val="white"/>
              </a:solidFill>
            </a:endParaRPr>
          </a:p>
        </p:txBody>
      </p:sp>
      <p:sp>
        <p:nvSpPr>
          <p:cNvPr id="4" name="Slide Number Placeholder 3"/>
          <p:cNvSpPr>
            <a:spLocks noGrp="1"/>
          </p:cNvSpPr>
          <p:nvPr>
            <p:ph type="sldNum" sz="quarter" idx="11"/>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7" name="Title 1"/>
          <p:cNvSpPr>
            <a:spLocks noGrp="1"/>
          </p:cNvSpPr>
          <p:nvPr>
            <p:ph type="title" hasCustomPrompt="1"/>
          </p:nvPr>
        </p:nvSpPr>
        <p:spPr>
          <a:xfrm>
            <a:off x="274710" y="2591135"/>
            <a:ext cx="6911355" cy="1822989"/>
          </a:xfrm>
          <a:noFill/>
        </p:spPr>
        <p:txBody>
          <a:bodyPr lIns="137160" tIns="137160" rIns="137160" bIns="137160" anchor="t" anchorCtr="0">
            <a:normAutofit/>
          </a:bodyPr>
          <a:lstStyle>
            <a:lvl1pPr>
              <a:defRPr sz="5400" spc="-98" baseline="0">
                <a:solidFill>
                  <a:srgbClr val="000000"/>
                </a:solidFill>
              </a:defRPr>
            </a:lvl1pPr>
          </a:lstStyle>
          <a:p>
            <a:r>
              <a:rPr lang="en-US" dirty="0"/>
              <a:t>Section title</a:t>
            </a:r>
          </a:p>
        </p:txBody>
      </p:sp>
      <p:sp>
        <p:nvSpPr>
          <p:cNvPr id="8" name="Text Placeholder 10"/>
          <p:cNvSpPr>
            <a:spLocks noGrp="1"/>
          </p:cNvSpPr>
          <p:nvPr>
            <p:ph type="body" sz="quarter" idx="14"/>
          </p:nvPr>
        </p:nvSpPr>
        <p:spPr>
          <a:xfrm>
            <a:off x="279243" y="3342118"/>
            <a:ext cx="5945148" cy="2590800"/>
          </a:xfrm>
          <a:prstGeom prst="rect">
            <a:avLst/>
          </a:prstGeom>
        </p:spPr>
        <p:txBody>
          <a:bodyPr lIns="137160" tIns="137160" rIns="137160" bIns="137160">
            <a:noAutofit/>
          </a:bodyPr>
          <a:lstStyle>
            <a:lvl1pPr marL="190428" indent="-190428">
              <a:lnSpc>
                <a:spcPct val="80000"/>
              </a:lnSpc>
              <a:buNone/>
              <a:defRPr lang="en-US" sz="24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13130911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Transition pag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0" y="-483476"/>
            <a:ext cx="12190821" cy="7354540"/>
          </a:xfrm>
          <a:prstGeom prst="rect">
            <a:avLst/>
          </a:prstGeom>
        </p:spPr>
      </p:pic>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6" name="Rectangle 5"/>
          <p:cNvSpPr/>
          <p:nvPr userDrawn="1"/>
        </p:nvSpPr>
        <p:spPr>
          <a:xfrm>
            <a:off x="274710" y="2582863"/>
            <a:ext cx="6911355" cy="3664420"/>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4244" tIns="147395" rIns="184244" bIns="147395" rtlCol="0" anchor="t" anchorCtr="0"/>
          <a:lstStyle/>
          <a:p>
            <a:pPr defTabSz="1088105"/>
            <a:endParaRPr lang="en-US" sz="2400" dirty="0">
              <a:solidFill>
                <a:prstClr val="white"/>
              </a:solidFill>
            </a:endParaRPr>
          </a:p>
        </p:txBody>
      </p:sp>
      <p:sp>
        <p:nvSpPr>
          <p:cNvPr id="4" name="Slide Number Placeholder 3"/>
          <p:cNvSpPr>
            <a:spLocks noGrp="1"/>
          </p:cNvSpPr>
          <p:nvPr>
            <p:ph type="sldNum" sz="quarter" idx="11"/>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7" name="Title 1"/>
          <p:cNvSpPr>
            <a:spLocks noGrp="1"/>
          </p:cNvSpPr>
          <p:nvPr>
            <p:ph type="title" hasCustomPrompt="1"/>
          </p:nvPr>
        </p:nvSpPr>
        <p:spPr>
          <a:xfrm>
            <a:off x="274710" y="2591135"/>
            <a:ext cx="6911355" cy="1822989"/>
          </a:xfrm>
          <a:noFill/>
        </p:spPr>
        <p:txBody>
          <a:bodyPr lIns="137160" tIns="137160" rIns="137160" bIns="137160" anchor="t" anchorCtr="0">
            <a:normAutofit/>
          </a:bodyPr>
          <a:lstStyle>
            <a:lvl1pPr>
              <a:defRPr sz="5400" spc="-98" baseline="0">
                <a:solidFill>
                  <a:schemeClr val="bg1"/>
                </a:solidFill>
              </a:defRPr>
            </a:lvl1pPr>
          </a:lstStyle>
          <a:p>
            <a:r>
              <a:rPr lang="en-US" dirty="0"/>
              <a:t>Section title</a:t>
            </a:r>
          </a:p>
        </p:txBody>
      </p:sp>
      <p:sp>
        <p:nvSpPr>
          <p:cNvPr id="8" name="Text Placeholder 10"/>
          <p:cNvSpPr>
            <a:spLocks noGrp="1"/>
          </p:cNvSpPr>
          <p:nvPr>
            <p:ph type="body" sz="quarter" idx="14"/>
          </p:nvPr>
        </p:nvSpPr>
        <p:spPr>
          <a:xfrm>
            <a:off x="279243" y="3342118"/>
            <a:ext cx="5945148" cy="2590800"/>
          </a:xfrm>
          <a:prstGeom prst="rect">
            <a:avLst/>
          </a:prstGeom>
        </p:spPr>
        <p:txBody>
          <a:bodyPr lIns="137160" tIns="137160" rIns="137160" bIns="137160">
            <a:noAutofit/>
          </a:bodyPr>
          <a:lstStyle>
            <a:lvl1pPr marL="190428" indent="-190428">
              <a:lnSpc>
                <a:spcPct val="80000"/>
              </a:lnSpc>
              <a:buNone/>
              <a:defRPr lang="en-US" sz="2400" kern="1200" dirty="0">
                <a:solidFill>
                  <a:schemeClr val="bg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15873768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_Transition pag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0" y="1"/>
            <a:ext cx="12218900" cy="6871063"/>
          </a:xfrm>
          <a:prstGeom prst="rect">
            <a:avLst/>
          </a:prstGeom>
        </p:spPr>
      </p:pic>
      <p:sp>
        <p:nvSpPr>
          <p:cNvPr id="3" name="Footer Placeholder 2"/>
          <p:cNvSpPr>
            <a:spLocks noGrp="1"/>
          </p:cNvSpPr>
          <p:nvPr>
            <p:ph type="ftr" sz="quarter" idx="10"/>
          </p:nvPr>
        </p:nvSpPr>
        <p:spPr/>
        <p:txBody>
          <a:bodyPr/>
          <a:lstStyle>
            <a:lvl1pPr>
              <a:defRPr>
                <a:solidFill>
                  <a:schemeClr val="bg1"/>
                </a:solidFill>
              </a:defRPr>
            </a:lvl1pPr>
          </a:lstStyle>
          <a:p>
            <a:endParaRPr lang="en-US" dirty="0">
              <a:solidFill>
                <a:prstClr val="white"/>
              </a:solidFill>
            </a:endParaRPr>
          </a:p>
        </p:txBody>
      </p:sp>
      <p:sp>
        <p:nvSpPr>
          <p:cNvPr id="6" name="Rectangle 5"/>
          <p:cNvSpPr/>
          <p:nvPr userDrawn="1"/>
        </p:nvSpPr>
        <p:spPr>
          <a:xfrm>
            <a:off x="274710" y="2582863"/>
            <a:ext cx="6911355" cy="3664420"/>
          </a:xfrm>
          <a:prstGeom prst="rect">
            <a:avLst/>
          </a:prstGeom>
          <a:solidFill>
            <a:srgbClr val="002050">
              <a:alpha val="8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4244" tIns="147395" rIns="184244" bIns="147395" rtlCol="0" anchor="t" anchorCtr="0"/>
          <a:lstStyle/>
          <a:p>
            <a:pPr defTabSz="1088105"/>
            <a:endParaRPr lang="en-US" sz="2400" dirty="0">
              <a:solidFill>
                <a:prstClr val="white"/>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FAADACFB-7C71-4E89-89D2-7BBA40B7BFA9}" type="slidenum">
              <a:rPr lang="en-US" smtClean="0">
                <a:solidFill>
                  <a:prstClr val="white"/>
                </a:solidFill>
              </a:rPr>
              <a:pPr/>
              <a:t>‹#›</a:t>
            </a:fld>
            <a:endParaRPr lang="en-US" dirty="0">
              <a:solidFill>
                <a:prstClr val="white"/>
              </a:solidFill>
            </a:endParaRPr>
          </a:p>
        </p:txBody>
      </p:sp>
      <p:sp>
        <p:nvSpPr>
          <p:cNvPr id="7" name="Title 1"/>
          <p:cNvSpPr>
            <a:spLocks noGrp="1"/>
          </p:cNvSpPr>
          <p:nvPr>
            <p:ph type="title" hasCustomPrompt="1"/>
          </p:nvPr>
        </p:nvSpPr>
        <p:spPr>
          <a:xfrm>
            <a:off x="274710" y="2591135"/>
            <a:ext cx="6911355" cy="1822989"/>
          </a:xfrm>
          <a:noFill/>
        </p:spPr>
        <p:txBody>
          <a:bodyPr lIns="137160" tIns="137160" rIns="137160" bIns="137160" anchor="t" anchorCtr="0">
            <a:normAutofit/>
          </a:bodyPr>
          <a:lstStyle>
            <a:lvl1pPr>
              <a:defRPr sz="5400" spc="-98" baseline="0">
                <a:solidFill>
                  <a:schemeClr val="bg1"/>
                </a:solidFill>
              </a:defRPr>
            </a:lvl1pPr>
          </a:lstStyle>
          <a:p>
            <a:r>
              <a:rPr lang="en-US" dirty="0"/>
              <a:t>Section title</a:t>
            </a:r>
          </a:p>
        </p:txBody>
      </p:sp>
      <p:sp>
        <p:nvSpPr>
          <p:cNvPr id="8" name="Text Placeholder 10"/>
          <p:cNvSpPr>
            <a:spLocks noGrp="1"/>
          </p:cNvSpPr>
          <p:nvPr>
            <p:ph type="body" sz="quarter" idx="14"/>
          </p:nvPr>
        </p:nvSpPr>
        <p:spPr>
          <a:xfrm>
            <a:off x="279243" y="3342118"/>
            <a:ext cx="5945148" cy="2590800"/>
          </a:xfrm>
          <a:prstGeom prst="rect">
            <a:avLst/>
          </a:prstGeom>
        </p:spPr>
        <p:txBody>
          <a:bodyPr lIns="137160" tIns="137160" rIns="137160" bIns="137160">
            <a:noAutofit/>
          </a:bodyPr>
          <a:lstStyle>
            <a:lvl1pPr marL="190428" indent="-190428">
              <a:lnSpc>
                <a:spcPct val="80000"/>
              </a:lnSpc>
              <a:buNone/>
              <a:defRPr lang="en-US" sz="2400" kern="1200" dirty="0">
                <a:solidFill>
                  <a:schemeClr val="bg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03361556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5054" y="1320306"/>
            <a:ext cx="11890296" cy="1822989"/>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426227" y="2838296"/>
            <a:ext cx="5945148"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943675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8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7" y="0"/>
            <a:ext cx="12201147" cy="685800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2084186"/>
            <a:ext cx="7171399" cy="3586194"/>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3"/>
            <a:ext cx="7171399" cy="1793104"/>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39" y="3877276"/>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3096837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5054" y="1320306"/>
            <a:ext cx="11890296" cy="1822989"/>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5" name="Text Placeholder 10"/>
          <p:cNvSpPr>
            <a:spLocks noGrp="1"/>
          </p:cNvSpPr>
          <p:nvPr>
            <p:ph type="body" sz="quarter" idx="14"/>
          </p:nvPr>
        </p:nvSpPr>
        <p:spPr>
          <a:xfrm>
            <a:off x="426227" y="2838296"/>
            <a:ext cx="5945148"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812543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2050"/>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5054" y="1320306"/>
            <a:ext cx="11890296" cy="1822989"/>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5" name="Text Placeholder 10"/>
          <p:cNvSpPr>
            <a:spLocks noGrp="1"/>
          </p:cNvSpPr>
          <p:nvPr>
            <p:ph type="body" sz="quarter" idx="14"/>
          </p:nvPr>
        </p:nvSpPr>
        <p:spPr>
          <a:xfrm>
            <a:off x="426227" y="2838296"/>
            <a:ext cx="5945148"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93292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Microsoft logo 1">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814" y="3048000"/>
            <a:ext cx="2571405" cy="419108"/>
          </a:xfrm>
          <a:prstGeom prst="rect">
            <a:avLst/>
          </a:prstGeom>
        </p:spPr>
      </p:pic>
      <p:sp>
        <p:nvSpPr>
          <p:cNvPr id="4" name="Rectangle 3"/>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143087279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638233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0" y="6477874"/>
            <a:ext cx="8382000" cy="380127"/>
          </a:xfrm>
          <a:prstGeom prst="rect">
            <a:avLst/>
          </a:prstGeom>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10972" y="791867"/>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379449100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2469351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401530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3"/>
          <p:cNvSpPr txBox="1">
            <a:spLocks/>
          </p:cNvSpPr>
          <p:nvPr userDrawn="1"/>
        </p:nvSpPr>
        <p:spPr>
          <a:xfrm>
            <a:off x="11742869" y="6496050"/>
            <a:ext cx="449131" cy="361950"/>
          </a:xfrm>
          <a:prstGeom prst="rect">
            <a:avLst/>
          </a:prstGeom>
        </p:spPr>
        <p:txBody>
          <a:bodyPr lIns="92556" tIns="46283" rIns="92556" bIns="46283"/>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07261">
              <a:defRPr/>
            </a:pPr>
            <a:fld id="{E5908F7E-4D1F-48E9-9898-4590CF20258C}" type="slidenum">
              <a:rPr lang="en-US" sz="1000" smtClean="0">
                <a:solidFill>
                  <a:prstClr val="black"/>
                </a:solidFill>
              </a:rPr>
              <a:pPr defTabSz="907261">
                <a:defRPr/>
              </a:pPr>
              <a:t>‹#›</a:t>
            </a:fld>
            <a:endParaRPr lang="en-US" sz="1000" dirty="0">
              <a:solidFill>
                <a:prstClr val="black"/>
              </a:solidFill>
            </a:endParaRPr>
          </a:p>
        </p:txBody>
      </p:sp>
    </p:spTree>
    <p:extLst>
      <p:ext uri="{BB962C8B-B14F-4D97-AF65-F5344CB8AC3E}">
        <p14:creationId xmlns:p14="http://schemas.microsoft.com/office/powerpoint/2010/main" val="102880602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4"/>
          </p:nvPr>
        </p:nvSpPr>
        <p:spPr>
          <a:xfrm>
            <a:off x="11633839" y="6457950"/>
            <a:ext cx="582481" cy="190308"/>
          </a:xfrm>
          <a:prstGeom prst="rect">
            <a:avLst/>
          </a:prstGeom>
        </p:spPr>
        <p:txBody>
          <a:bodyPr lIns="92556" tIns="46283" rIns="92556" bIns="46283"/>
          <a:lstStyle/>
          <a:p>
            <a:pPr defTabSz="907261"/>
            <a:fld id="{E5908F7E-4D1F-48E9-9898-4590CF20258C}" type="slidenum">
              <a:rPr lang="en-US" smtClean="0">
                <a:solidFill>
                  <a:srgbClr val="000000"/>
                </a:solidFill>
              </a:rPr>
              <a:pPr defTabSz="907261"/>
              <a:t>‹#›</a:t>
            </a:fld>
            <a:endParaRPr lang="en-US" dirty="0">
              <a:solidFill>
                <a:srgbClr val="000000"/>
              </a:solidFill>
            </a:endParaRPr>
          </a:p>
        </p:txBody>
      </p:sp>
    </p:spTree>
    <p:extLst>
      <p:ext uri="{BB962C8B-B14F-4D97-AF65-F5344CB8AC3E}">
        <p14:creationId xmlns:p14="http://schemas.microsoft.com/office/powerpoint/2010/main" val="1715550270"/>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331844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444462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with photo">
    <p:spTree>
      <p:nvGrpSpPr>
        <p:cNvPr id="1" name=""/>
        <p:cNvGrpSpPr/>
        <p:nvPr/>
      </p:nvGrpSpPr>
      <p:grpSpPr>
        <a:xfrm>
          <a:off x="0" y="0"/>
          <a:ext cx="0" cy="0"/>
          <a:chOff x="0" y="0"/>
          <a:chExt cx="0" cy="0"/>
        </a:xfrm>
      </p:grpSpPr>
      <p:sp>
        <p:nvSpPr>
          <p:cNvPr id="8" name="Rectangle 7"/>
          <p:cNvSpPr/>
          <p:nvPr userDrawn="1"/>
        </p:nvSpPr>
        <p:spPr bwMode="gray">
          <a:xfrm>
            <a:off x="190550" y="2622897"/>
            <a:ext cx="6031984" cy="3597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solidFill>
                <a:srgbClr val="000000"/>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9947" y="2608425"/>
            <a:ext cx="5487829" cy="2747751"/>
          </a:xfrm>
          <a:noFill/>
        </p:spPr>
        <p:txBody>
          <a:bodyPr vert="horz" lIns="137160" tIns="137160" rIns="137160" bIns="137160" rtlCol="0" anchor="t" anchorCtr="0">
            <a:normAutofit/>
          </a:bodyPr>
          <a:lstStyle>
            <a:lvl1pPr>
              <a:defRPr lang="en-US" sz="4400" spc="-98" dirty="0">
                <a:solidFill>
                  <a:srgbClr val="000000"/>
                </a:solidFill>
              </a:defRPr>
            </a:lvl1pPr>
          </a:lstStyle>
          <a:p>
            <a:pPr lvl="0"/>
            <a:r>
              <a:rPr lang="en-US" dirty="0"/>
              <a:t>Presentation title</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0248" y="274206"/>
            <a:ext cx="1947103" cy="716043"/>
          </a:xfrm>
          <a:prstGeom prst="rect">
            <a:avLst/>
          </a:prstGeom>
        </p:spPr>
      </p:pic>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197060" y="234377"/>
            <a:ext cx="1947103" cy="716042"/>
          </a:xfrm>
          <a:prstGeom prst="rect">
            <a:avLst/>
          </a:prstGeom>
        </p:spPr>
      </p:pic>
      <p:sp>
        <p:nvSpPr>
          <p:cNvPr id="10" name="TextBox 9"/>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505050"/>
                </a:solidFill>
                <a:ea typeface="Segoe UI" pitchFamily="34" charset="0"/>
                <a:cs typeface="Segoe UI" pitchFamily="34" charset="0"/>
              </a:rPr>
              <a:t>Click View &gt; Slide Master to insert a photo as a background behind the colored boxes.</a:t>
            </a:r>
          </a:p>
        </p:txBody>
      </p:sp>
      <p:sp>
        <p:nvSpPr>
          <p:cNvPr id="3" name="Text Placeholder 2"/>
          <p:cNvSpPr>
            <a:spLocks noGrp="1"/>
          </p:cNvSpPr>
          <p:nvPr>
            <p:ph type="body" sz="quarter" idx="16" hasCustomPrompt="1"/>
          </p:nvPr>
        </p:nvSpPr>
        <p:spPr>
          <a:xfrm>
            <a:off x="340302" y="4894384"/>
            <a:ext cx="5487829" cy="914400"/>
          </a:xfrm>
        </p:spPr>
        <p:txBody>
          <a:bodyPr>
            <a:normAutofit/>
          </a:bodyPr>
          <a:lstStyle>
            <a:lvl1pPr>
              <a:defRPr sz="1600">
                <a:solidFill>
                  <a:srgbClr val="000000"/>
                </a:solidFill>
              </a:defRPr>
            </a:lvl1pPr>
          </a:lstStyle>
          <a:p>
            <a:pPr lvl="0"/>
            <a:r>
              <a:rPr lang="en-US" dirty="0"/>
              <a:t>Speaker Name</a:t>
            </a:r>
          </a:p>
        </p:txBody>
      </p:sp>
      <p:sp>
        <p:nvSpPr>
          <p:cNvPr id="14" name="TextBox 13"/>
          <p:cNvSpPr txBox="1"/>
          <p:nvPr userDrawn="1"/>
        </p:nvSpPr>
        <p:spPr>
          <a:xfrm>
            <a:off x="409461" y="5735992"/>
            <a:ext cx="4850552" cy="342654"/>
          </a:xfrm>
          <a:prstGeom prst="rect">
            <a:avLst/>
          </a:prstGeom>
        </p:spPr>
        <p:txBody>
          <a:bodyPr vert="horz" wrap="square" lIns="0" tIns="0" rIns="0" bIns="0" rtlCol="0" anchor="t">
            <a:noAutofit/>
          </a:bodyPr>
          <a:lstStyle/>
          <a:p>
            <a:pPr defTabSz="1088105">
              <a:buClr>
                <a:srgbClr val="00BCF2"/>
              </a:buClr>
              <a:buFont typeface="Wingdings" pitchFamily="2" charset="2"/>
              <a:buNone/>
            </a:pPr>
            <a:r>
              <a:rPr lang="en-US" sz="2400" dirty="0">
                <a:solidFill>
                  <a:srgbClr val="000000"/>
                </a:solidFill>
                <a:ea typeface="Segoe UI" pitchFamily="34" charset="0"/>
                <a:cs typeface="Segoe UI" pitchFamily="34" charset="0"/>
              </a:rPr>
              <a:t>Real Impact for Better Government</a:t>
            </a:r>
          </a:p>
        </p:txBody>
      </p:sp>
    </p:spTree>
    <p:extLst>
      <p:ext uri="{BB962C8B-B14F-4D97-AF65-F5344CB8AC3E}">
        <p14:creationId xmlns:p14="http://schemas.microsoft.com/office/powerpoint/2010/main" val="42432920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EXAMPLE ONLY: Title with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l="326" t="10785" r="8344" b="11544"/>
          <a:stretch/>
        </p:blipFill>
        <p:spPr>
          <a:xfrm>
            <a:off x="1" y="-42042"/>
            <a:ext cx="12191999" cy="6905297"/>
          </a:xfrm>
          <a:prstGeom prst="rect">
            <a:avLst/>
          </a:prstGeom>
        </p:spPr>
      </p:pic>
      <p:sp>
        <p:nvSpPr>
          <p:cNvPr id="5" name="TextBox 4"/>
          <p:cNvSpPr txBox="1"/>
          <p:nvPr userDrawn="1"/>
        </p:nvSpPr>
        <p:spPr>
          <a:xfrm>
            <a:off x="13660420" y="9412941"/>
            <a:ext cx="914638" cy="914400"/>
          </a:xfrm>
          <a:prstGeom prst="rect">
            <a:avLst/>
          </a:prstGeom>
        </p:spPr>
        <p:txBody>
          <a:bodyPr vert="horz" wrap="none" lIns="0" tIns="0" rIns="0" bIns="0" rtlCol="0" anchor="t">
            <a:noAutofit/>
          </a:bodyPr>
          <a:lstStyle/>
          <a:p>
            <a:pPr marL="171450" indent="-171450" defTabSz="1088105">
              <a:buClr>
                <a:srgbClr val="00BCF2"/>
              </a:buClr>
              <a:buFont typeface="Wingdings" pitchFamily="2" charset="2"/>
              <a:buChar char="§"/>
            </a:pPr>
            <a:endParaRPr lang="en-US" sz="1200" dirty="0">
              <a:solidFill>
                <a:prstClr val="white"/>
              </a:solidFill>
              <a:ea typeface="Segoe UI" pitchFamily="34" charset="0"/>
              <a:cs typeface="Segoe UI" pitchFamily="34" charset="0"/>
            </a:endParaRP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0248" y="224439"/>
            <a:ext cx="1947103" cy="71604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318239" y="224438"/>
            <a:ext cx="1947103" cy="716042"/>
          </a:xfrm>
          <a:prstGeom prst="rect">
            <a:avLst/>
          </a:prstGeom>
        </p:spPr>
      </p:pic>
    </p:spTree>
    <p:extLst>
      <p:ext uri="{BB962C8B-B14F-4D97-AF65-F5344CB8AC3E}">
        <p14:creationId xmlns:p14="http://schemas.microsoft.com/office/powerpoint/2010/main" val="3043280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no photo">
    <p:bg>
      <p:bgPr>
        <a:solidFill>
          <a:schemeClr val="bg2"/>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0248" y="224438"/>
            <a:ext cx="1947103" cy="716042"/>
          </a:xfrm>
          <a:prstGeom prst="rect">
            <a:avLst/>
          </a:prstGeom>
        </p:spPr>
      </p:pic>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71610" y="274206"/>
            <a:ext cx="1947103" cy="716043"/>
          </a:xfrm>
          <a:prstGeom prst="rect">
            <a:avLst/>
          </a:prstGeom>
        </p:spPr>
      </p:pic>
      <p:sp>
        <p:nvSpPr>
          <p:cNvPr id="7" name="Rectangle 6"/>
          <p:cNvSpPr/>
          <p:nvPr userDrawn="1"/>
        </p:nvSpPr>
        <p:spPr bwMode="gray">
          <a:xfrm>
            <a:off x="190550" y="2622897"/>
            <a:ext cx="6031984" cy="3597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solidFill>
                <a:prstClr val="white"/>
              </a:solidFill>
              <a:ea typeface="Segoe UI" pitchFamily="34" charset="0"/>
              <a:cs typeface="Segoe UI" pitchFamily="34" charset="0"/>
            </a:endParaRPr>
          </a:p>
        </p:txBody>
      </p:sp>
      <p:sp>
        <p:nvSpPr>
          <p:cNvPr id="8" name="Title 1"/>
          <p:cNvSpPr>
            <a:spLocks noGrp="1"/>
          </p:cNvSpPr>
          <p:nvPr>
            <p:ph type="title" hasCustomPrompt="1"/>
          </p:nvPr>
        </p:nvSpPr>
        <p:spPr bwMode="ltGray">
          <a:xfrm>
            <a:off x="269947" y="2608425"/>
            <a:ext cx="5487829" cy="2747751"/>
          </a:xfrm>
          <a:noFill/>
        </p:spPr>
        <p:txBody>
          <a:bodyPr vert="horz" lIns="137160" tIns="137160" rIns="137160" bIns="137160" rtlCol="0" anchor="t" anchorCtr="0">
            <a:normAutofit/>
          </a:bodyPr>
          <a:lstStyle>
            <a:lvl1pPr>
              <a:defRPr lang="en-US" sz="4400" spc="-98" dirty="0">
                <a:solidFill>
                  <a:srgbClr val="000000"/>
                </a:solidFill>
              </a:defRPr>
            </a:lvl1pPr>
          </a:lstStyle>
          <a:p>
            <a:pPr lvl="0"/>
            <a:r>
              <a:rPr lang="en-US" dirty="0"/>
              <a:t>Presentation title</a:t>
            </a:r>
          </a:p>
        </p:txBody>
      </p:sp>
      <p:sp>
        <p:nvSpPr>
          <p:cNvPr id="3" name="Text Placeholder 2"/>
          <p:cNvSpPr>
            <a:spLocks noGrp="1"/>
          </p:cNvSpPr>
          <p:nvPr>
            <p:ph type="body" sz="quarter" idx="16" hasCustomPrompt="1"/>
          </p:nvPr>
        </p:nvSpPr>
        <p:spPr>
          <a:xfrm>
            <a:off x="354226" y="4900246"/>
            <a:ext cx="5487829" cy="823669"/>
          </a:xfrm>
        </p:spPr>
        <p:txBody>
          <a:bodyPr>
            <a:normAutofit/>
          </a:bodyPr>
          <a:lstStyle>
            <a:lvl1pPr>
              <a:defRPr sz="1600">
                <a:solidFill>
                  <a:srgbClr val="000000"/>
                </a:solidFill>
              </a:defRPr>
            </a:lvl1pPr>
          </a:lstStyle>
          <a:p>
            <a:pPr lvl="0"/>
            <a:r>
              <a:rPr lang="en-US" dirty="0"/>
              <a:t>Speaker Name</a:t>
            </a:r>
          </a:p>
        </p:txBody>
      </p:sp>
      <p:sp>
        <p:nvSpPr>
          <p:cNvPr id="9" name="TextBox 8"/>
          <p:cNvSpPr txBox="1"/>
          <p:nvPr userDrawn="1"/>
        </p:nvSpPr>
        <p:spPr>
          <a:xfrm>
            <a:off x="409461" y="5735992"/>
            <a:ext cx="4850552" cy="342654"/>
          </a:xfrm>
          <a:prstGeom prst="rect">
            <a:avLst/>
          </a:prstGeom>
        </p:spPr>
        <p:txBody>
          <a:bodyPr vert="horz" wrap="square" lIns="0" tIns="0" rIns="0" bIns="0" rtlCol="0" anchor="t">
            <a:noAutofit/>
          </a:bodyPr>
          <a:lstStyle/>
          <a:p>
            <a:pPr defTabSz="1088105">
              <a:buClr>
                <a:srgbClr val="00BCF2"/>
              </a:buClr>
              <a:buFont typeface="Wingdings" pitchFamily="2" charset="2"/>
              <a:buNone/>
            </a:pPr>
            <a:r>
              <a:rPr lang="en-US" sz="2400" dirty="0">
                <a:solidFill>
                  <a:srgbClr val="000000"/>
                </a:solidFill>
                <a:ea typeface="Segoe UI" pitchFamily="34" charset="0"/>
                <a:cs typeface="Segoe UI" pitchFamily="34" charset="0"/>
              </a:rPr>
              <a:t>Real Impact for Better Government</a:t>
            </a:r>
          </a:p>
        </p:txBody>
      </p:sp>
    </p:spTree>
    <p:extLst>
      <p:ext uri="{BB962C8B-B14F-4D97-AF65-F5344CB8AC3E}">
        <p14:creationId xmlns:p14="http://schemas.microsoft.com/office/powerpoint/2010/main" val="30794291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19096" y="791867"/>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355582" y="1600200"/>
            <a:ext cx="11345600"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336690907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10972" y="791867"/>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154883619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otation">
    <p:spTree>
      <p:nvGrpSpPr>
        <p:cNvPr id="1" name=""/>
        <p:cNvGrpSpPr/>
        <p:nvPr/>
      </p:nvGrpSpPr>
      <p:grpSpPr>
        <a:xfrm>
          <a:off x="0" y="0"/>
          <a:ext cx="0" cy="0"/>
          <a:chOff x="0" y="0"/>
          <a:chExt cx="0" cy="0"/>
        </a:xfrm>
      </p:grpSpPr>
      <p:sp>
        <p:nvSpPr>
          <p:cNvPr id="9" name="Picture Placeholder 8"/>
          <p:cNvSpPr>
            <a:spLocks noGrp="1"/>
          </p:cNvSpPr>
          <p:nvPr>
            <p:ph type="pic" sz="quarter" idx="14" hasCustomPrompt="1"/>
          </p:nvPr>
        </p:nvSpPr>
        <p:spPr>
          <a:xfrm>
            <a:off x="1" y="0"/>
            <a:ext cx="12192000" cy="6858000"/>
          </a:xfrm>
        </p:spPr>
        <p:txBody>
          <a:bodyPr/>
          <a:lstStyle>
            <a:lvl1pPr>
              <a:defRPr/>
            </a:lvl1pPr>
          </a:lstStyle>
          <a:p>
            <a:r>
              <a:rPr lang="en-US" dirty="0"/>
              <a:t>Click to add picture</a:t>
            </a:r>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12779733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ext Placeholder 9"/>
          <p:cNvSpPr>
            <a:spLocks noGrp="1"/>
          </p:cNvSpPr>
          <p:nvPr>
            <p:ph type="body" sz="quarter" idx="13"/>
          </p:nvPr>
        </p:nvSpPr>
        <p:spPr>
          <a:xfrm>
            <a:off x="3048000" y="6467476"/>
            <a:ext cx="8382000" cy="388938"/>
          </a:xfrm>
          <a:prstGeom prst="rect">
            <a:avLst/>
          </a:prstGeom>
        </p:spPr>
        <p:txBody>
          <a:bodyPr anchor="ctr"/>
          <a:lstStyle>
            <a:lvl1pPr marL="0" indent="0">
              <a:buNone/>
              <a:defRPr sz="800">
                <a:solidFill>
                  <a:schemeClr val="tx1"/>
                </a:solidFill>
              </a:defRPr>
            </a:lvl1pPr>
          </a:lstStyle>
          <a:p>
            <a:pPr lvl="0"/>
            <a:r>
              <a:rPr lang="en-US"/>
              <a:t>Click to edit Master text styles</a:t>
            </a:r>
          </a:p>
        </p:txBody>
      </p:sp>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Tree>
    <p:extLst>
      <p:ext uri="{BB962C8B-B14F-4D97-AF65-F5344CB8AC3E}">
        <p14:creationId xmlns:p14="http://schemas.microsoft.com/office/powerpoint/2010/main" val="419665396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4" name="Picture 3" descr="10GRID2a.jpg"/>
          <p:cNvPicPr>
            <a:picLocks noChangeAspect="1"/>
          </p:cNvPicPr>
          <p:nvPr userDrawn="1"/>
        </p:nvPicPr>
        <p:blipFill>
          <a:blip r:embed="rId2">
            <a:alphaModFix amt="58000"/>
            <a:extLst>
              <a:ext uri="{28A0092B-C50C-407E-A947-70E740481C1C}">
                <a14:useLocalDpi xmlns:a14="http://schemas.microsoft.com/office/drawing/2010/main"/>
              </a:ext>
            </a:extLst>
          </a:blip>
          <a:stretch>
            <a:fillRect/>
          </a:stretch>
        </p:blipFill>
        <p:spPr>
          <a:xfrm>
            <a:off x="0" y="-1"/>
            <a:ext cx="12192826" cy="6856679"/>
          </a:xfrm>
          <a:prstGeom prst="rect">
            <a:avLst/>
          </a:prstGeom>
        </p:spPr>
      </p:pic>
      <p:grpSp>
        <p:nvGrpSpPr>
          <p:cNvPr id="2" name="Group 1"/>
          <p:cNvGrpSpPr/>
          <p:nvPr userDrawn="1"/>
        </p:nvGrpSpPr>
        <p:grpSpPr>
          <a:xfrm>
            <a:off x="185326" y="2326039"/>
            <a:ext cx="11836065" cy="4398590"/>
            <a:chOff x="185277" y="2326039"/>
            <a:chExt cx="12064064" cy="4484488"/>
          </a:xfrm>
        </p:grpSpPr>
        <p:sp>
          <p:nvSpPr>
            <p:cNvPr id="8" name="Rectangle 7"/>
            <p:cNvSpPr/>
            <p:nvPr userDrawn="1"/>
          </p:nvSpPr>
          <p:spPr bwMode="auto">
            <a:xfrm>
              <a:off x="18527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 name="Rectangle 8"/>
            <p:cNvSpPr/>
            <p:nvPr userDrawn="1"/>
          </p:nvSpPr>
          <p:spPr bwMode="auto">
            <a:xfrm>
              <a:off x="1700271"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0" name="Rectangle 9"/>
            <p:cNvSpPr/>
            <p:nvPr userDrawn="1"/>
          </p:nvSpPr>
          <p:spPr bwMode="auto">
            <a:xfrm>
              <a:off x="3215265"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1" name="Rectangle 10"/>
            <p:cNvSpPr/>
            <p:nvPr userDrawn="1"/>
          </p:nvSpPr>
          <p:spPr bwMode="auto">
            <a:xfrm>
              <a:off x="4730259"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2" name="Rectangle 11"/>
            <p:cNvSpPr/>
            <p:nvPr userDrawn="1"/>
          </p:nvSpPr>
          <p:spPr bwMode="auto">
            <a:xfrm>
              <a:off x="6245253"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 name="Rectangle 12"/>
            <p:cNvSpPr/>
            <p:nvPr userDrawn="1"/>
          </p:nvSpPr>
          <p:spPr bwMode="auto">
            <a:xfrm>
              <a:off x="776024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4" name="Rectangle 13"/>
            <p:cNvSpPr/>
            <p:nvPr userDrawn="1"/>
          </p:nvSpPr>
          <p:spPr bwMode="auto">
            <a:xfrm>
              <a:off x="9275241"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15" name="Group 14"/>
            <p:cNvGrpSpPr/>
            <p:nvPr userDrawn="1"/>
          </p:nvGrpSpPr>
          <p:grpSpPr>
            <a:xfrm>
              <a:off x="185277" y="2326039"/>
              <a:ext cx="12064064" cy="1459104"/>
              <a:chOff x="185277" y="2031977"/>
              <a:chExt cx="12064064" cy="1459104"/>
            </a:xfrm>
          </p:grpSpPr>
          <p:sp>
            <p:nvSpPr>
              <p:cNvPr id="16" name="Rectangle 15"/>
              <p:cNvSpPr/>
              <p:nvPr/>
            </p:nvSpPr>
            <p:spPr bwMode="auto">
              <a:xfrm>
                <a:off x="18527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7" name="Rectangle 16"/>
              <p:cNvSpPr/>
              <p:nvPr/>
            </p:nvSpPr>
            <p:spPr bwMode="auto">
              <a:xfrm>
                <a:off x="1700271"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8" name="Rectangle 17"/>
              <p:cNvSpPr/>
              <p:nvPr/>
            </p:nvSpPr>
            <p:spPr bwMode="auto">
              <a:xfrm>
                <a:off x="3215265"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9" name="Rectangle 18"/>
              <p:cNvSpPr/>
              <p:nvPr/>
            </p:nvSpPr>
            <p:spPr bwMode="auto">
              <a:xfrm>
                <a:off x="4730259"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0" name="Rectangle 19"/>
              <p:cNvSpPr/>
              <p:nvPr/>
            </p:nvSpPr>
            <p:spPr bwMode="auto">
              <a:xfrm>
                <a:off x="6245253"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1" name="Rectangle 20"/>
              <p:cNvSpPr/>
              <p:nvPr/>
            </p:nvSpPr>
            <p:spPr bwMode="auto">
              <a:xfrm>
                <a:off x="776024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2" name="Rectangle 21"/>
              <p:cNvSpPr/>
              <p:nvPr/>
            </p:nvSpPr>
            <p:spPr bwMode="auto">
              <a:xfrm>
                <a:off x="9275241"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3" name="Rectangle 22"/>
              <p:cNvSpPr/>
              <p:nvPr/>
            </p:nvSpPr>
            <p:spPr bwMode="auto">
              <a:xfrm>
                <a:off x="1079023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24" name="Group 23"/>
            <p:cNvGrpSpPr/>
            <p:nvPr userDrawn="1"/>
          </p:nvGrpSpPr>
          <p:grpSpPr>
            <a:xfrm>
              <a:off x="185277" y="3845414"/>
              <a:ext cx="12064064" cy="1459104"/>
              <a:chOff x="185277" y="3564719"/>
              <a:chExt cx="12064064" cy="1459104"/>
            </a:xfrm>
          </p:grpSpPr>
          <p:sp>
            <p:nvSpPr>
              <p:cNvPr id="25" name="Rectangle 24"/>
              <p:cNvSpPr/>
              <p:nvPr/>
            </p:nvSpPr>
            <p:spPr bwMode="auto">
              <a:xfrm>
                <a:off x="18527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6" name="Rectangle 25"/>
              <p:cNvSpPr/>
              <p:nvPr/>
            </p:nvSpPr>
            <p:spPr bwMode="auto">
              <a:xfrm>
                <a:off x="1700271"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7" name="Rectangle 26"/>
              <p:cNvSpPr/>
              <p:nvPr/>
            </p:nvSpPr>
            <p:spPr bwMode="auto">
              <a:xfrm>
                <a:off x="3215265"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8" name="Rectangle 27"/>
              <p:cNvSpPr/>
              <p:nvPr/>
            </p:nvSpPr>
            <p:spPr bwMode="auto">
              <a:xfrm>
                <a:off x="4730259"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9" name="Rectangle 28"/>
              <p:cNvSpPr/>
              <p:nvPr/>
            </p:nvSpPr>
            <p:spPr bwMode="auto">
              <a:xfrm>
                <a:off x="6245253"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0" name="Rectangle 29"/>
              <p:cNvSpPr/>
              <p:nvPr/>
            </p:nvSpPr>
            <p:spPr bwMode="auto">
              <a:xfrm>
                <a:off x="776024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1" name="Rectangle 30"/>
              <p:cNvSpPr/>
              <p:nvPr/>
            </p:nvSpPr>
            <p:spPr bwMode="auto">
              <a:xfrm>
                <a:off x="9275241"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2" name="Rectangle 31"/>
              <p:cNvSpPr/>
              <p:nvPr/>
            </p:nvSpPr>
            <p:spPr bwMode="auto">
              <a:xfrm>
                <a:off x="1079023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33" name="Rectangle 32"/>
            <p:cNvSpPr/>
            <p:nvPr userDrawn="1"/>
          </p:nvSpPr>
          <p:spPr bwMode="auto">
            <a:xfrm>
              <a:off x="1079023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34" name="Title 1"/>
          <p:cNvSpPr>
            <a:spLocks noGrp="1"/>
          </p:cNvSpPr>
          <p:nvPr>
            <p:ph type="title"/>
          </p:nvPr>
        </p:nvSpPr>
        <p:spPr>
          <a:xfrm>
            <a:off x="79397" y="267869"/>
            <a:ext cx="12192000" cy="646042"/>
          </a:xfrm>
        </p:spPr>
        <p:txBody>
          <a:bodyPr>
            <a:noAutofit/>
          </a:bodyPr>
          <a:lstStyle>
            <a:lvl1pPr>
              <a:defRPr/>
            </a:lvl1pPr>
          </a:lstStyle>
          <a:p>
            <a:r>
              <a:rPr lang="en-US"/>
              <a:t>Click to edit Master title style</a:t>
            </a:r>
            <a:endParaRPr lang="en-US" dirty="0"/>
          </a:p>
        </p:txBody>
      </p:sp>
      <p:sp>
        <p:nvSpPr>
          <p:cNvPr id="35" name="Text Placeholder 5"/>
          <p:cNvSpPr>
            <a:spLocks noGrp="1"/>
          </p:cNvSpPr>
          <p:nvPr>
            <p:ph type="body" sz="quarter" idx="13" hasCustomPrompt="1"/>
          </p:nvPr>
        </p:nvSpPr>
        <p:spPr>
          <a:xfrm>
            <a:off x="119096" y="791867"/>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369941090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ransition pag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73766"/>
          </a:xfrm>
          <a:prstGeom prst="rect">
            <a:avLst/>
          </a:prstGeom>
        </p:spPr>
      </p:pic>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6" name="Rectangle 5"/>
          <p:cNvSpPr/>
          <p:nvPr userDrawn="1"/>
        </p:nvSpPr>
        <p:spPr>
          <a:xfrm>
            <a:off x="274710" y="2582863"/>
            <a:ext cx="6911355" cy="3664420"/>
          </a:xfrm>
          <a:prstGeom prst="rect">
            <a:avLst/>
          </a:prstGeom>
          <a:solidFill>
            <a:schemeClr val="accent1">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4244" tIns="147395" rIns="184244" bIns="147395" rtlCol="0" anchor="t" anchorCtr="0"/>
          <a:lstStyle/>
          <a:p>
            <a:pPr defTabSz="1088105"/>
            <a:endParaRPr lang="en-US" sz="2400" dirty="0">
              <a:solidFill>
                <a:prstClr val="white"/>
              </a:solidFill>
            </a:endParaRPr>
          </a:p>
        </p:txBody>
      </p:sp>
      <p:sp>
        <p:nvSpPr>
          <p:cNvPr id="4" name="Slide Number Placeholder 3"/>
          <p:cNvSpPr>
            <a:spLocks noGrp="1"/>
          </p:cNvSpPr>
          <p:nvPr>
            <p:ph type="sldNum" sz="quarter" idx="11"/>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7" name="Title 1"/>
          <p:cNvSpPr>
            <a:spLocks noGrp="1"/>
          </p:cNvSpPr>
          <p:nvPr>
            <p:ph type="title" hasCustomPrompt="1"/>
          </p:nvPr>
        </p:nvSpPr>
        <p:spPr>
          <a:xfrm>
            <a:off x="274710" y="2591135"/>
            <a:ext cx="6911355" cy="1822989"/>
          </a:xfrm>
          <a:noFill/>
        </p:spPr>
        <p:txBody>
          <a:bodyPr lIns="137160" tIns="137160" rIns="137160" bIns="137160" anchor="t" anchorCtr="0">
            <a:normAutofit/>
          </a:bodyPr>
          <a:lstStyle>
            <a:lvl1pPr>
              <a:defRPr sz="5400" spc="-98" baseline="0">
                <a:solidFill>
                  <a:srgbClr val="000000"/>
                </a:solidFill>
              </a:defRPr>
            </a:lvl1pPr>
          </a:lstStyle>
          <a:p>
            <a:r>
              <a:rPr lang="en-US" dirty="0"/>
              <a:t>Section title</a:t>
            </a:r>
          </a:p>
        </p:txBody>
      </p:sp>
      <p:sp>
        <p:nvSpPr>
          <p:cNvPr id="8" name="Text Placeholder 10"/>
          <p:cNvSpPr>
            <a:spLocks noGrp="1"/>
          </p:cNvSpPr>
          <p:nvPr>
            <p:ph type="body" sz="quarter" idx="14"/>
          </p:nvPr>
        </p:nvSpPr>
        <p:spPr>
          <a:xfrm>
            <a:off x="279243" y="3342118"/>
            <a:ext cx="5945148" cy="2590800"/>
          </a:xfrm>
          <a:prstGeom prst="rect">
            <a:avLst/>
          </a:prstGeom>
        </p:spPr>
        <p:txBody>
          <a:bodyPr lIns="137160" tIns="137160" rIns="137160" bIns="137160">
            <a:noAutofit/>
          </a:bodyPr>
          <a:lstStyle>
            <a:lvl1pPr marL="190428" indent="-190428">
              <a:lnSpc>
                <a:spcPct val="80000"/>
              </a:lnSpc>
              <a:buNone/>
              <a:defRPr lang="en-US" sz="24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08945017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Transition pag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0" y="-483476"/>
            <a:ext cx="12190821" cy="7354540"/>
          </a:xfrm>
          <a:prstGeom prst="rect">
            <a:avLst/>
          </a:prstGeom>
        </p:spPr>
      </p:pic>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6" name="Rectangle 5"/>
          <p:cNvSpPr/>
          <p:nvPr userDrawn="1"/>
        </p:nvSpPr>
        <p:spPr>
          <a:xfrm>
            <a:off x="274710" y="2582863"/>
            <a:ext cx="6911355" cy="3664420"/>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4244" tIns="147395" rIns="184244" bIns="147395" rtlCol="0" anchor="t" anchorCtr="0"/>
          <a:lstStyle/>
          <a:p>
            <a:pPr defTabSz="1088105"/>
            <a:endParaRPr lang="en-US" sz="2400" dirty="0">
              <a:solidFill>
                <a:prstClr val="white"/>
              </a:solidFill>
            </a:endParaRPr>
          </a:p>
        </p:txBody>
      </p:sp>
      <p:sp>
        <p:nvSpPr>
          <p:cNvPr id="4" name="Slide Number Placeholder 3"/>
          <p:cNvSpPr>
            <a:spLocks noGrp="1"/>
          </p:cNvSpPr>
          <p:nvPr>
            <p:ph type="sldNum" sz="quarter" idx="11"/>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7" name="Title 1"/>
          <p:cNvSpPr>
            <a:spLocks noGrp="1"/>
          </p:cNvSpPr>
          <p:nvPr>
            <p:ph type="title" hasCustomPrompt="1"/>
          </p:nvPr>
        </p:nvSpPr>
        <p:spPr>
          <a:xfrm>
            <a:off x="274710" y="2591135"/>
            <a:ext cx="6911355" cy="1822989"/>
          </a:xfrm>
          <a:noFill/>
        </p:spPr>
        <p:txBody>
          <a:bodyPr lIns="137160" tIns="137160" rIns="137160" bIns="137160" anchor="t" anchorCtr="0">
            <a:normAutofit/>
          </a:bodyPr>
          <a:lstStyle>
            <a:lvl1pPr>
              <a:defRPr sz="5400" spc="-98" baseline="0">
                <a:solidFill>
                  <a:schemeClr val="bg1"/>
                </a:solidFill>
              </a:defRPr>
            </a:lvl1pPr>
          </a:lstStyle>
          <a:p>
            <a:r>
              <a:rPr lang="en-US" dirty="0"/>
              <a:t>Section title</a:t>
            </a:r>
          </a:p>
        </p:txBody>
      </p:sp>
      <p:sp>
        <p:nvSpPr>
          <p:cNvPr id="8" name="Text Placeholder 10"/>
          <p:cNvSpPr>
            <a:spLocks noGrp="1"/>
          </p:cNvSpPr>
          <p:nvPr>
            <p:ph type="body" sz="quarter" idx="14"/>
          </p:nvPr>
        </p:nvSpPr>
        <p:spPr>
          <a:xfrm>
            <a:off x="279243" y="3342118"/>
            <a:ext cx="5945148" cy="2590800"/>
          </a:xfrm>
          <a:prstGeom prst="rect">
            <a:avLst/>
          </a:prstGeom>
        </p:spPr>
        <p:txBody>
          <a:bodyPr lIns="137160" tIns="137160" rIns="137160" bIns="137160">
            <a:noAutofit/>
          </a:bodyPr>
          <a:lstStyle>
            <a:lvl1pPr marL="190428" indent="-190428">
              <a:lnSpc>
                <a:spcPct val="80000"/>
              </a:lnSpc>
              <a:buNone/>
              <a:defRPr lang="en-US" sz="2400" kern="1200" dirty="0">
                <a:solidFill>
                  <a:schemeClr val="bg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09602182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97.xml"/><Relationship Id="rId13" Type="http://schemas.openxmlformats.org/officeDocument/2006/relationships/slideLayout" Target="../slideLayouts/slideLayout302.xml"/><Relationship Id="rId18" Type="http://schemas.openxmlformats.org/officeDocument/2006/relationships/slideLayout" Target="../slideLayouts/slideLayout307.xml"/><Relationship Id="rId26" Type="http://schemas.openxmlformats.org/officeDocument/2006/relationships/slideLayout" Target="../slideLayouts/slideLayout315.xml"/><Relationship Id="rId3" Type="http://schemas.openxmlformats.org/officeDocument/2006/relationships/slideLayout" Target="../slideLayouts/slideLayout292.xml"/><Relationship Id="rId21" Type="http://schemas.openxmlformats.org/officeDocument/2006/relationships/slideLayout" Target="../slideLayouts/slideLayout310.xml"/><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5" Type="http://schemas.openxmlformats.org/officeDocument/2006/relationships/slideLayout" Target="../slideLayouts/slideLayout314.xml"/><Relationship Id="rId2" Type="http://schemas.openxmlformats.org/officeDocument/2006/relationships/slideLayout" Target="../slideLayouts/slideLayout291.xml"/><Relationship Id="rId16" Type="http://schemas.openxmlformats.org/officeDocument/2006/relationships/slideLayout" Target="../slideLayouts/slideLayout305.xml"/><Relationship Id="rId20" Type="http://schemas.openxmlformats.org/officeDocument/2006/relationships/slideLayout" Target="../slideLayouts/slideLayout309.xml"/><Relationship Id="rId29" Type="http://schemas.openxmlformats.org/officeDocument/2006/relationships/slideLayout" Target="../slideLayouts/slideLayout318.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24" Type="http://schemas.openxmlformats.org/officeDocument/2006/relationships/slideLayout" Target="../slideLayouts/slideLayout313.xml"/><Relationship Id="rId5" Type="http://schemas.openxmlformats.org/officeDocument/2006/relationships/slideLayout" Target="../slideLayouts/slideLayout294.xml"/><Relationship Id="rId15" Type="http://schemas.openxmlformats.org/officeDocument/2006/relationships/slideLayout" Target="../slideLayouts/slideLayout304.xml"/><Relationship Id="rId23" Type="http://schemas.openxmlformats.org/officeDocument/2006/relationships/slideLayout" Target="../slideLayouts/slideLayout312.xml"/><Relationship Id="rId28" Type="http://schemas.openxmlformats.org/officeDocument/2006/relationships/slideLayout" Target="../slideLayouts/slideLayout317.xml"/><Relationship Id="rId10" Type="http://schemas.openxmlformats.org/officeDocument/2006/relationships/slideLayout" Target="../slideLayouts/slideLayout299.xml"/><Relationship Id="rId19" Type="http://schemas.openxmlformats.org/officeDocument/2006/relationships/slideLayout" Target="../slideLayouts/slideLayout308.xml"/><Relationship Id="rId31" Type="http://schemas.openxmlformats.org/officeDocument/2006/relationships/image" Target="../media/image29.png"/><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 Id="rId22" Type="http://schemas.openxmlformats.org/officeDocument/2006/relationships/slideLayout" Target="../slideLayouts/slideLayout311.xml"/><Relationship Id="rId27" Type="http://schemas.openxmlformats.org/officeDocument/2006/relationships/slideLayout" Target="../slideLayouts/slideLayout316.xml"/><Relationship Id="rId30"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26.xml"/><Relationship Id="rId13" Type="http://schemas.openxmlformats.org/officeDocument/2006/relationships/slideLayout" Target="../slideLayouts/slideLayout331.xml"/><Relationship Id="rId18" Type="http://schemas.openxmlformats.org/officeDocument/2006/relationships/slideLayout" Target="../slideLayouts/slideLayout336.xml"/><Relationship Id="rId26" Type="http://schemas.openxmlformats.org/officeDocument/2006/relationships/slideLayout" Target="../slideLayouts/slideLayout344.xml"/><Relationship Id="rId3" Type="http://schemas.openxmlformats.org/officeDocument/2006/relationships/slideLayout" Target="../slideLayouts/slideLayout321.xml"/><Relationship Id="rId21" Type="http://schemas.openxmlformats.org/officeDocument/2006/relationships/slideLayout" Target="../slideLayouts/slideLayout339.xml"/><Relationship Id="rId7" Type="http://schemas.openxmlformats.org/officeDocument/2006/relationships/slideLayout" Target="../slideLayouts/slideLayout325.xml"/><Relationship Id="rId12" Type="http://schemas.openxmlformats.org/officeDocument/2006/relationships/slideLayout" Target="../slideLayouts/slideLayout330.xml"/><Relationship Id="rId17" Type="http://schemas.openxmlformats.org/officeDocument/2006/relationships/slideLayout" Target="../slideLayouts/slideLayout335.xml"/><Relationship Id="rId25" Type="http://schemas.openxmlformats.org/officeDocument/2006/relationships/slideLayout" Target="../slideLayouts/slideLayout343.xml"/><Relationship Id="rId2" Type="http://schemas.openxmlformats.org/officeDocument/2006/relationships/slideLayout" Target="../slideLayouts/slideLayout320.xml"/><Relationship Id="rId16" Type="http://schemas.openxmlformats.org/officeDocument/2006/relationships/slideLayout" Target="../slideLayouts/slideLayout334.xml"/><Relationship Id="rId20" Type="http://schemas.openxmlformats.org/officeDocument/2006/relationships/slideLayout" Target="../slideLayouts/slideLayout338.xml"/><Relationship Id="rId29" Type="http://schemas.openxmlformats.org/officeDocument/2006/relationships/theme" Target="../theme/theme11.xml"/><Relationship Id="rId1" Type="http://schemas.openxmlformats.org/officeDocument/2006/relationships/slideLayout" Target="../slideLayouts/slideLayout319.xml"/><Relationship Id="rId6" Type="http://schemas.openxmlformats.org/officeDocument/2006/relationships/slideLayout" Target="../slideLayouts/slideLayout324.xml"/><Relationship Id="rId11" Type="http://schemas.openxmlformats.org/officeDocument/2006/relationships/slideLayout" Target="../slideLayouts/slideLayout329.xml"/><Relationship Id="rId24" Type="http://schemas.openxmlformats.org/officeDocument/2006/relationships/slideLayout" Target="../slideLayouts/slideLayout342.xml"/><Relationship Id="rId5" Type="http://schemas.openxmlformats.org/officeDocument/2006/relationships/slideLayout" Target="../slideLayouts/slideLayout323.xml"/><Relationship Id="rId15" Type="http://schemas.openxmlformats.org/officeDocument/2006/relationships/slideLayout" Target="../slideLayouts/slideLayout333.xml"/><Relationship Id="rId23" Type="http://schemas.openxmlformats.org/officeDocument/2006/relationships/slideLayout" Target="../slideLayouts/slideLayout341.xml"/><Relationship Id="rId28" Type="http://schemas.openxmlformats.org/officeDocument/2006/relationships/slideLayout" Target="../slideLayouts/slideLayout346.xml"/><Relationship Id="rId10" Type="http://schemas.openxmlformats.org/officeDocument/2006/relationships/slideLayout" Target="../slideLayouts/slideLayout328.xml"/><Relationship Id="rId19" Type="http://schemas.openxmlformats.org/officeDocument/2006/relationships/slideLayout" Target="../slideLayouts/slideLayout337.xml"/><Relationship Id="rId4" Type="http://schemas.openxmlformats.org/officeDocument/2006/relationships/slideLayout" Target="../slideLayouts/slideLayout322.xml"/><Relationship Id="rId9" Type="http://schemas.openxmlformats.org/officeDocument/2006/relationships/slideLayout" Target="../slideLayouts/slideLayout327.xml"/><Relationship Id="rId14" Type="http://schemas.openxmlformats.org/officeDocument/2006/relationships/slideLayout" Target="../slideLayouts/slideLayout332.xml"/><Relationship Id="rId22" Type="http://schemas.openxmlformats.org/officeDocument/2006/relationships/slideLayout" Target="../slideLayouts/slideLayout340.xml"/><Relationship Id="rId27" Type="http://schemas.openxmlformats.org/officeDocument/2006/relationships/slideLayout" Target="../slideLayouts/slideLayout345.xml"/><Relationship Id="rId30" Type="http://schemas.openxmlformats.org/officeDocument/2006/relationships/image" Target="../media/image29.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54.xml"/><Relationship Id="rId13" Type="http://schemas.openxmlformats.org/officeDocument/2006/relationships/slideLayout" Target="../slideLayouts/slideLayout359.xml"/><Relationship Id="rId18" Type="http://schemas.openxmlformats.org/officeDocument/2006/relationships/slideLayout" Target="../slideLayouts/slideLayout364.xml"/><Relationship Id="rId26" Type="http://schemas.openxmlformats.org/officeDocument/2006/relationships/slideLayout" Target="../slideLayouts/slideLayout372.xml"/><Relationship Id="rId3" Type="http://schemas.openxmlformats.org/officeDocument/2006/relationships/slideLayout" Target="../slideLayouts/slideLayout349.xml"/><Relationship Id="rId21" Type="http://schemas.openxmlformats.org/officeDocument/2006/relationships/slideLayout" Target="../slideLayouts/slideLayout367.xml"/><Relationship Id="rId34" Type="http://schemas.openxmlformats.org/officeDocument/2006/relationships/slideLayout" Target="../slideLayouts/slideLayout380.xml"/><Relationship Id="rId7" Type="http://schemas.openxmlformats.org/officeDocument/2006/relationships/slideLayout" Target="../slideLayouts/slideLayout353.xml"/><Relationship Id="rId12" Type="http://schemas.openxmlformats.org/officeDocument/2006/relationships/slideLayout" Target="../slideLayouts/slideLayout358.xml"/><Relationship Id="rId17" Type="http://schemas.openxmlformats.org/officeDocument/2006/relationships/slideLayout" Target="../slideLayouts/slideLayout363.xml"/><Relationship Id="rId25" Type="http://schemas.openxmlformats.org/officeDocument/2006/relationships/slideLayout" Target="../slideLayouts/slideLayout371.xml"/><Relationship Id="rId33" Type="http://schemas.openxmlformats.org/officeDocument/2006/relationships/slideLayout" Target="../slideLayouts/slideLayout379.xml"/><Relationship Id="rId2" Type="http://schemas.openxmlformats.org/officeDocument/2006/relationships/slideLayout" Target="../slideLayouts/slideLayout348.xml"/><Relationship Id="rId16" Type="http://schemas.openxmlformats.org/officeDocument/2006/relationships/slideLayout" Target="../slideLayouts/slideLayout362.xml"/><Relationship Id="rId20" Type="http://schemas.openxmlformats.org/officeDocument/2006/relationships/slideLayout" Target="../slideLayouts/slideLayout366.xml"/><Relationship Id="rId29" Type="http://schemas.openxmlformats.org/officeDocument/2006/relationships/slideLayout" Target="../slideLayouts/slideLayout375.xml"/><Relationship Id="rId1" Type="http://schemas.openxmlformats.org/officeDocument/2006/relationships/slideLayout" Target="../slideLayouts/slideLayout347.xml"/><Relationship Id="rId6" Type="http://schemas.openxmlformats.org/officeDocument/2006/relationships/slideLayout" Target="../slideLayouts/slideLayout352.xml"/><Relationship Id="rId11" Type="http://schemas.openxmlformats.org/officeDocument/2006/relationships/slideLayout" Target="../slideLayouts/slideLayout357.xml"/><Relationship Id="rId24" Type="http://schemas.openxmlformats.org/officeDocument/2006/relationships/slideLayout" Target="../slideLayouts/slideLayout370.xml"/><Relationship Id="rId32" Type="http://schemas.openxmlformats.org/officeDocument/2006/relationships/slideLayout" Target="../slideLayouts/slideLayout378.xml"/><Relationship Id="rId37" Type="http://schemas.openxmlformats.org/officeDocument/2006/relationships/image" Target="../media/image1.png"/><Relationship Id="rId5" Type="http://schemas.openxmlformats.org/officeDocument/2006/relationships/slideLayout" Target="../slideLayouts/slideLayout351.xml"/><Relationship Id="rId15" Type="http://schemas.openxmlformats.org/officeDocument/2006/relationships/slideLayout" Target="../slideLayouts/slideLayout361.xml"/><Relationship Id="rId23" Type="http://schemas.openxmlformats.org/officeDocument/2006/relationships/slideLayout" Target="../slideLayouts/slideLayout369.xml"/><Relationship Id="rId28" Type="http://schemas.openxmlformats.org/officeDocument/2006/relationships/slideLayout" Target="../slideLayouts/slideLayout374.xml"/><Relationship Id="rId36" Type="http://schemas.openxmlformats.org/officeDocument/2006/relationships/theme" Target="../theme/theme12.xml"/><Relationship Id="rId10" Type="http://schemas.openxmlformats.org/officeDocument/2006/relationships/slideLayout" Target="../slideLayouts/slideLayout356.xml"/><Relationship Id="rId19" Type="http://schemas.openxmlformats.org/officeDocument/2006/relationships/slideLayout" Target="../slideLayouts/slideLayout365.xml"/><Relationship Id="rId31" Type="http://schemas.openxmlformats.org/officeDocument/2006/relationships/slideLayout" Target="../slideLayouts/slideLayout377.xml"/><Relationship Id="rId4" Type="http://schemas.openxmlformats.org/officeDocument/2006/relationships/slideLayout" Target="../slideLayouts/slideLayout350.xml"/><Relationship Id="rId9" Type="http://schemas.openxmlformats.org/officeDocument/2006/relationships/slideLayout" Target="../slideLayouts/slideLayout355.xml"/><Relationship Id="rId14" Type="http://schemas.openxmlformats.org/officeDocument/2006/relationships/slideLayout" Target="../slideLayouts/slideLayout360.xml"/><Relationship Id="rId22" Type="http://schemas.openxmlformats.org/officeDocument/2006/relationships/slideLayout" Target="../slideLayouts/slideLayout368.xml"/><Relationship Id="rId27" Type="http://schemas.openxmlformats.org/officeDocument/2006/relationships/slideLayout" Target="../slideLayouts/slideLayout373.xml"/><Relationship Id="rId30" Type="http://schemas.openxmlformats.org/officeDocument/2006/relationships/slideLayout" Target="../slideLayouts/slideLayout376.xml"/><Relationship Id="rId35" Type="http://schemas.openxmlformats.org/officeDocument/2006/relationships/slideLayout" Target="../slideLayouts/slideLayout38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89.xml"/><Relationship Id="rId13" Type="http://schemas.openxmlformats.org/officeDocument/2006/relationships/slideLayout" Target="../slideLayouts/slideLayout394.xml"/><Relationship Id="rId18" Type="http://schemas.openxmlformats.org/officeDocument/2006/relationships/slideLayout" Target="../slideLayouts/slideLayout399.xml"/><Relationship Id="rId26" Type="http://schemas.openxmlformats.org/officeDocument/2006/relationships/slideLayout" Target="../slideLayouts/slideLayout407.xml"/><Relationship Id="rId3" Type="http://schemas.openxmlformats.org/officeDocument/2006/relationships/slideLayout" Target="../slideLayouts/slideLayout384.xml"/><Relationship Id="rId21" Type="http://schemas.openxmlformats.org/officeDocument/2006/relationships/slideLayout" Target="../slideLayouts/slideLayout402.xml"/><Relationship Id="rId34" Type="http://schemas.openxmlformats.org/officeDocument/2006/relationships/slideLayout" Target="../slideLayouts/slideLayout415.xml"/><Relationship Id="rId7" Type="http://schemas.openxmlformats.org/officeDocument/2006/relationships/slideLayout" Target="../slideLayouts/slideLayout388.xml"/><Relationship Id="rId12" Type="http://schemas.openxmlformats.org/officeDocument/2006/relationships/slideLayout" Target="../slideLayouts/slideLayout393.xml"/><Relationship Id="rId17" Type="http://schemas.openxmlformats.org/officeDocument/2006/relationships/slideLayout" Target="../slideLayouts/slideLayout398.xml"/><Relationship Id="rId25" Type="http://schemas.openxmlformats.org/officeDocument/2006/relationships/slideLayout" Target="../slideLayouts/slideLayout406.xml"/><Relationship Id="rId33" Type="http://schemas.openxmlformats.org/officeDocument/2006/relationships/slideLayout" Target="../slideLayouts/slideLayout414.xml"/><Relationship Id="rId38" Type="http://schemas.openxmlformats.org/officeDocument/2006/relationships/image" Target="../media/image1.png"/><Relationship Id="rId2" Type="http://schemas.openxmlformats.org/officeDocument/2006/relationships/slideLayout" Target="../slideLayouts/slideLayout383.xml"/><Relationship Id="rId16" Type="http://schemas.openxmlformats.org/officeDocument/2006/relationships/slideLayout" Target="../slideLayouts/slideLayout397.xml"/><Relationship Id="rId20" Type="http://schemas.openxmlformats.org/officeDocument/2006/relationships/slideLayout" Target="../slideLayouts/slideLayout401.xml"/><Relationship Id="rId29" Type="http://schemas.openxmlformats.org/officeDocument/2006/relationships/slideLayout" Target="../slideLayouts/slideLayout410.xml"/><Relationship Id="rId1" Type="http://schemas.openxmlformats.org/officeDocument/2006/relationships/slideLayout" Target="../slideLayouts/slideLayout382.xml"/><Relationship Id="rId6" Type="http://schemas.openxmlformats.org/officeDocument/2006/relationships/slideLayout" Target="../slideLayouts/slideLayout387.xml"/><Relationship Id="rId11" Type="http://schemas.openxmlformats.org/officeDocument/2006/relationships/slideLayout" Target="../slideLayouts/slideLayout392.xml"/><Relationship Id="rId24" Type="http://schemas.openxmlformats.org/officeDocument/2006/relationships/slideLayout" Target="../slideLayouts/slideLayout405.xml"/><Relationship Id="rId32" Type="http://schemas.openxmlformats.org/officeDocument/2006/relationships/slideLayout" Target="../slideLayouts/slideLayout413.xml"/><Relationship Id="rId37" Type="http://schemas.openxmlformats.org/officeDocument/2006/relationships/theme" Target="../theme/theme13.xml"/><Relationship Id="rId5" Type="http://schemas.openxmlformats.org/officeDocument/2006/relationships/slideLayout" Target="../slideLayouts/slideLayout386.xml"/><Relationship Id="rId15" Type="http://schemas.openxmlformats.org/officeDocument/2006/relationships/slideLayout" Target="../slideLayouts/slideLayout396.xml"/><Relationship Id="rId23" Type="http://schemas.openxmlformats.org/officeDocument/2006/relationships/slideLayout" Target="../slideLayouts/slideLayout404.xml"/><Relationship Id="rId28" Type="http://schemas.openxmlformats.org/officeDocument/2006/relationships/slideLayout" Target="../slideLayouts/slideLayout409.xml"/><Relationship Id="rId36" Type="http://schemas.openxmlformats.org/officeDocument/2006/relationships/slideLayout" Target="../slideLayouts/slideLayout417.xml"/><Relationship Id="rId10" Type="http://schemas.openxmlformats.org/officeDocument/2006/relationships/slideLayout" Target="../slideLayouts/slideLayout391.xml"/><Relationship Id="rId19" Type="http://schemas.openxmlformats.org/officeDocument/2006/relationships/slideLayout" Target="../slideLayouts/slideLayout400.xml"/><Relationship Id="rId31" Type="http://schemas.openxmlformats.org/officeDocument/2006/relationships/slideLayout" Target="../slideLayouts/slideLayout412.xml"/><Relationship Id="rId4" Type="http://schemas.openxmlformats.org/officeDocument/2006/relationships/slideLayout" Target="../slideLayouts/slideLayout385.xml"/><Relationship Id="rId9" Type="http://schemas.openxmlformats.org/officeDocument/2006/relationships/slideLayout" Target="../slideLayouts/slideLayout390.xml"/><Relationship Id="rId14" Type="http://schemas.openxmlformats.org/officeDocument/2006/relationships/slideLayout" Target="../slideLayouts/slideLayout395.xml"/><Relationship Id="rId22" Type="http://schemas.openxmlformats.org/officeDocument/2006/relationships/slideLayout" Target="../slideLayouts/slideLayout403.xml"/><Relationship Id="rId27" Type="http://schemas.openxmlformats.org/officeDocument/2006/relationships/slideLayout" Target="../slideLayouts/slideLayout408.xml"/><Relationship Id="rId30" Type="http://schemas.openxmlformats.org/officeDocument/2006/relationships/slideLayout" Target="../slideLayouts/slideLayout411.xml"/><Relationship Id="rId35" Type="http://schemas.openxmlformats.org/officeDocument/2006/relationships/slideLayout" Target="../slideLayouts/slideLayout41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34" Type="http://schemas.openxmlformats.org/officeDocument/2006/relationships/image" Target="../media/image1.png"/><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theme" Target="../theme/theme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theme" Target="../theme/theme3.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26" Type="http://schemas.openxmlformats.org/officeDocument/2006/relationships/slideLayout" Target="../slideLayouts/slideLayout136.xml"/><Relationship Id="rId39" Type="http://schemas.openxmlformats.org/officeDocument/2006/relationships/slideLayout" Target="../slideLayouts/slideLayout149.xml"/><Relationship Id="rId3" Type="http://schemas.openxmlformats.org/officeDocument/2006/relationships/slideLayout" Target="../slideLayouts/slideLayout113.xml"/><Relationship Id="rId21" Type="http://schemas.openxmlformats.org/officeDocument/2006/relationships/slideLayout" Target="../slideLayouts/slideLayout131.xml"/><Relationship Id="rId34" Type="http://schemas.openxmlformats.org/officeDocument/2006/relationships/slideLayout" Target="../slideLayouts/slideLayout144.xml"/><Relationship Id="rId42" Type="http://schemas.openxmlformats.org/officeDocument/2006/relationships/slideLayout" Target="../slideLayouts/slideLayout152.xml"/><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5" Type="http://schemas.openxmlformats.org/officeDocument/2006/relationships/slideLayout" Target="../slideLayouts/slideLayout135.xml"/><Relationship Id="rId33" Type="http://schemas.openxmlformats.org/officeDocument/2006/relationships/slideLayout" Target="../slideLayouts/slideLayout143.xml"/><Relationship Id="rId38" Type="http://schemas.openxmlformats.org/officeDocument/2006/relationships/slideLayout" Target="../slideLayouts/slideLayout148.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0" Type="http://schemas.openxmlformats.org/officeDocument/2006/relationships/slideLayout" Target="../slideLayouts/slideLayout130.xml"/><Relationship Id="rId29" Type="http://schemas.openxmlformats.org/officeDocument/2006/relationships/slideLayout" Target="../slideLayouts/slideLayout139.xml"/><Relationship Id="rId41" Type="http://schemas.openxmlformats.org/officeDocument/2006/relationships/slideLayout" Target="../slideLayouts/slideLayout151.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24" Type="http://schemas.openxmlformats.org/officeDocument/2006/relationships/slideLayout" Target="../slideLayouts/slideLayout134.xml"/><Relationship Id="rId32" Type="http://schemas.openxmlformats.org/officeDocument/2006/relationships/slideLayout" Target="../slideLayouts/slideLayout142.xml"/><Relationship Id="rId37" Type="http://schemas.openxmlformats.org/officeDocument/2006/relationships/slideLayout" Target="../slideLayouts/slideLayout147.xml"/><Relationship Id="rId40" Type="http://schemas.openxmlformats.org/officeDocument/2006/relationships/slideLayout" Target="../slideLayouts/slideLayout150.xml"/><Relationship Id="rId5" Type="http://schemas.openxmlformats.org/officeDocument/2006/relationships/slideLayout" Target="../slideLayouts/slideLayout115.xml"/><Relationship Id="rId15" Type="http://schemas.openxmlformats.org/officeDocument/2006/relationships/slideLayout" Target="../slideLayouts/slideLayout125.xml"/><Relationship Id="rId23" Type="http://schemas.openxmlformats.org/officeDocument/2006/relationships/slideLayout" Target="../slideLayouts/slideLayout133.xml"/><Relationship Id="rId28" Type="http://schemas.openxmlformats.org/officeDocument/2006/relationships/slideLayout" Target="../slideLayouts/slideLayout138.xml"/><Relationship Id="rId36" Type="http://schemas.openxmlformats.org/officeDocument/2006/relationships/slideLayout" Target="../slideLayouts/slideLayout146.xml"/><Relationship Id="rId10" Type="http://schemas.openxmlformats.org/officeDocument/2006/relationships/slideLayout" Target="../slideLayouts/slideLayout120.xml"/><Relationship Id="rId19" Type="http://schemas.openxmlformats.org/officeDocument/2006/relationships/slideLayout" Target="../slideLayouts/slideLayout129.xml"/><Relationship Id="rId31" Type="http://schemas.openxmlformats.org/officeDocument/2006/relationships/slideLayout" Target="../slideLayouts/slideLayout141.xml"/><Relationship Id="rId44" Type="http://schemas.openxmlformats.org/officeDocument/2006/relationships/theme" Target="../theme/theme5.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slideLayout" Target="../slideLayouts/slideLayout132.xml"/><Relationship Id="rId27" Type="http://schemas.openxmlformats.org/officeDocument/2006/relationships/slideLayout" Target="../slideLayouts/slideLayout137.xml"/><Relationship Id="rId30" Type="http://schemas.openxmlformats.org/officeDocument/2006/relationships/slideLayout" Target="../slideLayouts/slideLayout140.xml"/><Relationship Id="rId35" Type="http://schemas.openxmlformats.org/officeDocument/2006/relationships/slideLayout" Target="../slideLayouts/slideLayout145.xml"/><Relationship Id="rId43" Type="http://schemas.openxmlformats.org/officeDocument/2006/relationships/slideLayout" Target="../slideLayouts/slideLayout1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26" Type="http://schemas.openxmlformats.org/officeDocument/2006/relationships/slideLayout" Target="../slideLayouts/slideLayout179.xml"/><Relationship Id="rId39" Type="http://schemas.openxmlformats.org/officeDocument/2006/relationships/slideLayout" Target="../slideLayouts/slideLayout192.xml"/><Relationship Id="rId3" Type="http://schemas.openxmlformats.org/officeDocument/2006/relationships/slideLayout" Target="../slideLayouts/slideLayout156.xml"/><Relationship Id="rId21" Type="http://schemas.openxmlformats.org/officeDocument/2006/relationships/slideLayout" Target="../slideLayouts/slideLayout174.xml"/><Relationship Id="rId34" Type="http://schemas.openxmlformats.org/officeDocument/2006/relationships/slideLayout" Target="../slideLayouts/slideLayout187.xml"/><Relationship Id="rId42" Type="http://schemas.openxmlformats.org/officeDocument/2006/relationships/slideLayout" Target="../slideLayouts/slideLayout195.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5" Type="http://schemas.openxmlformats.org/officeDocument/2006/relationships/slideLayout" Target="../slideLayouts/slideLayout178.xml"/><Relationship Id="rId33" Type="http://schemas.openxmlformats.org/officeDocument/2006/relationships/slideLayout" Target="../slideLayouts/slideLayout186.xml"/><Relationship Id="rId38" Type="http://schemas.openxmlformats.org/officeDocument/2006/relationships/slideLayout" Target="../slideLayouts/slideLayout191.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0" Type="http://schemas.openxmlformats.org/officeDocument/2006/relationships/slideLayout" Target="../slideLayouts/slideLayout173.xml"/><Relationship Id="rId29" Type="http://schemas.openxmlformats.org/officeDocument/2006/relationships/slideLayout" Target="../slideLayouts/slideLayout182.xml"/><Relationship Id="rId41" Type="http://schemas.openxmlformats.org/officeDocument/2006/relationships/slideLayout" Target="../slideLayouts/slideLayout194.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24" Type="http://schemas.openxmlformats.org/officeDocument/2006/relationships/slideLayout" Target="../slideLayouts/slideLayout177.xml"/><Relationship Id="rId32" Type="http://schemas.openxmlformats.org/officeDocument/2006/relationships/slideLayout" Target="../slideLayouts/slideLayout185.xml"/><Relationship Id="rId37" Type="http://schemas.openxmlformats.org/officeDocument/2006/relationships/slideLayout" Target="../slideLayouts/slideLayout190.xml"/><Relationship Id="rId40" Type="http://schemas.openxmlformats.org/officeDocument/2006/relationships/slideLayout" Target="../slideLayouts/slideLayout193.xml"/><Relationship Id="rId5" Type="http://schemas.openxmlformats.org/officeDocument/2006/relationships/slideLayout" Target="../slideLayouts/slideLayout158.xml"/><Relationship Id="rId15" Type="http://schemas.openxmlformats.org/officeDocument/2006/relationships/slideLayout" Target="../slideLayouts/slideLayout168.xml"/><Relationship Id="rId23" Type="http://schemas.openxmlformats.org/officeDocument/2006/relationships/slideLayout" Target="../slideLayouts/slideLayout176.xml"/><Relationship Id="rId28" Type="http://schemas.openxmlformats.org/officeDocument/2006/relationships/slideLayout" Target="../slideLayouts/slideLayout181.xml"/><Relationship Id="rId36" Type="http://schemas.openxmlformats.org/officeDocument/2006/relationships/slideLayout" Target="../slideLayouts/slideLayout189.xml"/><Relationship Id="rId10" Type="http://schemas.openxmlformats.org/officeDocument/2006/relationships/slideLayout" Target="../slideLayouts/slideLayout163.xml"/><Relationship Id="rId19" Type="http://schemas.openxmlformats.org/officeDocument/2006/relationships/slideLayout" Target="../slideLayouts/slideLayout172.xml"/><Relationship Id="rId31" Type="http://schemas.openxmlformats.org/officeDocument/2006/relationships/slideLayout" Target="../slideLayouts/slideLayout184.xml"/><Relationship Id="rId44" Type="http://schemas.openxmlformats.org/officeDocument/2006/relationships/theme" Target="../theme/theme6.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 Id="rId22" Type="http://schemas.openxmlformats.org/officeDocument/2006/relationships/slideLayout" Target="../slideLayouts/slideLayout175.xml"/><Relationship Id="rId27" Type="http://schemas.openxmlformats.org/officeDocument/2006/relationships/slideLayout" Target="../slideLayouts/slideLayout180.xml"/><Relationship Id="rId30" Type="http://schemas.openxmlformats.org/officeDocument/2006/relationships/slideLayout" Target="../slideLayouts/slideLayout183.xml"/><Relationship Id="rId35" Type="http://schemas.openxmlformats.org/officeDocument/2006/relationships/slideLayout" Target="../slideLayouts/slideLayout188.xml"/><Relationship Id="rId43" Type="http://schemas.openxmlformats.org/officeDocument/2006/relationships/slideLayout" Target="../slideLayouts/slideLayout19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26" Type="http://schemas.openxmlformats.org/officeDocument/2006/relationships/slideLayout" Target="../slideLayouts/slideLayout222.xml"/><Relationship Id="rId3" Type="http://schemas.openxmlformats.org/officeDocument/2006/relationships/slideLayout" Target="../slideLayouts/slideLayout199.xml"/><Relationship Id="rId21" Type="http://schemas.openxmlformats.org/officeDocument/2006/relationships/slideLayout" Target="../slideLayouts/slideLayout217.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5" Type="http://schemas.openxmlformats.org/officeDocument/2006/relationships/slideLayout" Target="../slideLayouts/slideLayout221.xml"/><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0" Type="http://schemas.openxmlformats.org/officeDocument/2006/relationships/slideLayout" Target="../slideLayouts/slideLayout216.xml"/><Relationship Id="rId29" Type="http://schemas.openxmlformats.org/officeDocument/2006/relationships/theme" Target="../theme/theme7.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24" Type="http://schemas.openxmlformats.org/officeDocument/2006/relationships/slideLayout" Target="../slideLayouts/slideLayout220.xml"/><Relationship Id="rId5" Type="http://schemas.openxmlformats.org/officeDocument/2006/relationships/slideLayout" Target="../slideLayouts/slideLayout201.xml"/><Relationship Id="rId15" Type="http://schemas.openxmlformats.org/officeDocument/2006/relationships/slideLayout" Target="../slideLayouts/slideLayout211.xml"/><Relationship Id="rId23" Type="http://schemas.openxmlformats.org/officeDocument/2006/relationships/slideLayout" Target="../slideLayouts/slideLayout219.xml"/><Relationship Id="rId28" Type="http://schemas.openxmlformats.org/officeDocument/2006/relationships/slideLayout" Target="../slideLayouts/slideLayout224.xml"/><Relationship Id="rId10" Type="http://schemas.openxmlformats.org/officeDocument/2006/relationships/slideLayout" Target="../slideLayouts/slideLayout206.xml"/><Relationship Id="rId19" Type="http://schemas.openxmlformats.org/officeDocument/2006/relationships/slideLayout" Target="../slideLayouts/slideLayout215.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 Id="rId22" Type="http://schemas.openxmlformats.org/officeDocument/2006/relationships/slideLayout" Target="../slideLayouts/slideLayout218.xml"/><Relationship Id="rId27" Type="http://schemas.openxmlformats.org/officeDocument/2006/relationships/slideLayout" Target="../slideLayouts/slideLayout223.xml"/><Relationship Id="rId30" Type="http://schemas.openxmlformats.org/officeDocument/2006/relationships/image" Target="../media/image29.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slideLayout" Target="../slideLayouts/slideLayout237.xml"/><Relationship Id="rId18" Type="http://schemas.openxmlformats.org/officeDocument/2006/relationships/slideLayout" Target="../slideLayouts/slideLayout242.xml"/><Relationship Id="rId26" Type="http://schemas.openxmlformats.org/officeDocument/2006/relationships/slideLayout" Target="../slideLayouts/slideLayout250.xml"/><Relationship Id="rId39" Type="http://schemas.openxmlformats.org/officeDocument/2006/relationships/image" Target="../media/image1.png"/><Relationship Id="rId3" Type="http://schemas.openxmlformats.org/officeDocument/2006/relationships/slideLayout" Target="../slideLayouts/slideLayout227.xml"/><Relationship Id="rId21" Type="http://schemas.openxmlformats.org/officeDocument/2006/relationships/slideLayout" Target="../slideLayouts/slideLayout245.xml"/><Relationship Id="rId34" Type="http://schemas.openxmlformats.org/officeDocument/2006/relationships/slideLayout" Target="../slideLayouts/slideLayout258.xml"/><Relationship Id="rId7" Type="http://schemas.openxmlformats.org/officeDocument/2006/relationships/slideLayout" Target="../slideLayouts/slideLayout231.xml"/><Relationship Id="rId12" Type="http://schemas.openxmlformats.org/officeDocument/2006/relationships/slideLayout" Target="../slideLayouts/slideLayout236.xml"/><Relationship Id="rId17" Type="http://schemas.openxmlformats.org/officeDocument/2006/relationships/slideLayout" Target="../slideLayouts/slideLayout241.xml"/><Relationship Id="rId25" Type="http://schemas.openxmlformats.org/officeDocument/2006/relationships/slideLayout" Target="../slideLayouts/slideLayout249.xml"/><Relationship Id="rId33" Type="http://schemas.openxmlformats.org/officeDocument/2006/relationships/slideLayout" Target="../slideLayouts/slideLayout257.xml"/><Relationship Id="rId38" Type="http://schemas.openxmlformats.org/officeDocument/2006/relationships/theme" Target="../theme/theme8.xml"/><Relationship Id="rId2" Type="http://schemas.openxmlformats.org/officeDocument/2006/relationships/slideLayout" Target="../slideLayouts/slideLayout226.xml"/><Relationship Id="rId16" Type="http://schemas.openxmlformats.org/officeDocument/2006/relationships/slideLayout" Target="../slideLayouts/slideLayout240.xml"/><Relationship Id="rId20" Type="http://schemas.openxmlformats.org/officeDocument/2006/relationships/slideLayout" Target="../slideLayouts/slideLayout244.xml"/><Relationship Id="rId29" Type="http://schemas.openxmlformats.org/officeDocument/2006/relationships/slideLayout" Target="../slideLayouts/slideLayout253.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slideLayout" Target="../slideLayouts/slideLayout235.xml"/><Relationship Id="rId24" Type="http://schemas.openxmlformats.org/officeDocument/2006/relationships/slideLayout" Target="../slideLayouts/slideLayout248.xml"/><Relationship Id="rId32" Type="http://schemas.openxmlformats.org/officeDocument/2006/relationships/slideLayout" Target="../slideLayouts/slideLayout256.xml"/><Relationship Id="rId37" Type="http://schemas.openxmlformats.org/officeDocument/2006/relationships/slideLayout" Target="../slideLayouts/slideLayout261.xml"/><Relationship Id="rId5" Type="http://schemas.openxmlformats.org/officeDocument/2006/relationships/slideLayout" Target="../slideLayouts/slideLayout229.xml"/><Relationship Id="rId15" Type="http://schemas.openxmlformats.org/officeDocument/2006/relationships/slideLayout" Target="../slideLayouts/slideLayout239.xml"/><Relationship Id="rId23" Type="http://schemas.openxmlformats.org/officeDocument/2006/relationships/slideLayout" Target="../slideLayouts/slideLayout247.xml"/><Relationship Id="rId28" Type="http://schemas.openxmlformats.org/officeDocument/2006/relationships/slideLayout" Target="../slideLayouts/slideLayout252.xml"/><Relationship Id="rId36" Type="http://schemas.openxmlformats.org/officeDocument/2006/relationships/slideLayout" Target="../slideLayouts/slideLayout260.xml"/><Relationship Id="rId10" Type="http://schemas.openxmlformats.org/officeDocument/2006/relationships/slideLayout" Target="../slideLayouts/slideLayout234.xml"/><Relationship Id="rId19" Type="http://schemas.openxmlformats.org/officeDocument/2006/relationships/slideLayout" Target="../slideLayouts/slideLayout243.xml"/><Relationship Id="rId31" Type="http://schemas.openxmlformats.org/officeDocument/2006/relationships/slideLayout" Target="../slideLayouts/slideLayout255.xml"/><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slideLayout" Target="../slideLayouts/slideLayout238.xml"/><Relationship Id="rId22" Type="http://schemas.openxmlformats.org/officeDocument/2006/relationships/slideLayout" Target="../slideLayouts/slideLayout246.xml"/><Relationship Id="rId27" Type="http://schemas.openxmlformats.org/officeDocument/2006/relationships/slideLayout" Target="../slideLayouts/slideLayout251.xml"/><Relationship Id="rId30" Type="http://schemas.openxmlformats.org/officeDocument/2006/relationships/slideLayout" Target="../slideLayouts/slideLayout254.xml"/><Relationship Id="rId35" Type="http://schemas.openxmlformats.org/officeDocument/2006/relationships/slideLayout" Target="../slideLayouts/slideLayout25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69.xml"/><Relationship Id="rId13" Type="http://schemas.openxmlformats.org/officeDocument/2006/relationships/slideLayout" Target="../slideLayouts/slideLayout274.xml"/><Relationship Id="rId18" Type="http://schemas.openxmlformats.org/officeDocument/2006/relationships/slideLayout" Target="../slideLayouts/slideLayout279.xml"/><Relationship Id="rId26" Type="http://schemas.openxmlformats.org/officeDocument/2006/relationships/slideLayout" Target="../slideLayouts/slideLayout287.xml"/><Relationship Id="rId3" Type="http://schemas.openxmlformats.org/officeDocument/2006/relationships/slideLayout" Target="../slideLayouts/slideLayout264.xml"/><Relationship Id="rId21" Type="http://schemas.openxmlformats.org/officeDocument/2006/relationships/slideLayout" Target="../slideLayouts/slideLayout282.xml"/><Relationship Id="rId7" Type="http://schemas.openxmlformats.org/officeDocument/2006/relationships/slideLayout" Target="../slideLayouts/slideLayout268.xml"/><Relationship Id="rId12" Type="http://schemas.openxmlformats.org/officeDocument/2006/relationships/slideLayout" Target="../slideLayouts/slideLayout273.xml"/><Relationship Id="rId17" Type="http://schemas.openxmlformats.org/officeDocument/2006/relationships/slideLayout" Target="../slideLayouts/slideLayout278.xml"/><Relationship Id="rId25" Type="http://schemas.openxmlformats.org/officeDocument/2006/relationships/slideLayout" Target="../slideLayouts/slideLayout286.xml"/><Relationship Id="rId2" Type="http://schemas.openxmlformats.org/officeDocument/2006/relationships/slideLayout" Target="../slideLayouts/slideLayout263.xml"/><Relationship Id="rId16" Type="http://schemas.openxmlformats.org/officeDocument/2006/relationships/slideLayout" Target="../slideLayouts/slideLayout277.xml"/><Relationship Id="rId20" Type="http://schemas.openxmlformats.org/officeDocument/2006/relationships/slideLayout" Target="../slideLayouts/slideLayout281.xml"/><Relationship Id="rId29" Type="http://schemas.openxmlformats.org/officeDocument/2006/relationships/theme" Target="../theme/theme9.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11" Type="http://schemas.openxmlformats.org/officeDocument/2006/relationships/slideLayout" Target="../slideLayouts/slideLayout272.xml"/><Relationship Id="rId24" Type="http://schemas.openxmlformats.org/officeDocument/2006/relationships/slideLayout" Target="../slideLayouts/slideLayout285.xml"/><Relationship Id="rId5" Type="http://schemas.openxmlformats.org/officeDocument/2006/relationships/slideLayout" Target="../slideLayouts/slideLayout266.xml"/><Relationship Id="rId15" Type="http://schemas.openxmlformats.org/officeDocument/2006/relationships/slideLayout" Target="../slideLayouts/slideLayout276.xml"/><Relationship Id="rId23" Type="http://schemas.openxmlformats.org/officeDocument/2006/relationships/slideLayout" Target="../slideLayouts/slideLayout284.xml"/><Relationship Id="rId28" Type="http://schemas.openxmlformats.org/officeDocument/2006/relationships/slideLayout" Target="../slideLayouts/slideLayout289.xml"/><Relationship Id="rId10" Type="http://schemas.openxmlformats.org/officeDocument/2006/relationships/slideLayout" Target="../slideLayouts/slideLayout271.xml"/><Relationship Id="rId19" Type="http://schemas.openxmlformats.org/officeDocument/2006/relationships/slideLayout" Target="../slideLayouts/slideLayout280.xml"/><Relationship Id="rId4" Type="http://schemas.openxmlformats.org/officeDocument/2006/relationships/slideLayout" Target="../slideLayouts/slideLayout265.xml"/><Relationship Id="rId9" Type="http://schemas.openxmlformats.org/officeDocument/2006/relationships/slideLayout" Target="../slideLayouts/slideLayout270.xml"/><Relationship Id="rId14" Type="http://schemas.openxmlformats.org/officeDocument/2006/relationships/slideLayout" Target="../slideLayouts/slideLayout275.xml"/><Relationship Id="rId22" Type="http://schemas.openxmlformats.org/officeDocument/2006/relationships/slideLayout" Target="../slideLayouts/slideLayout283.xml"/><Relationship Id="rId27" Type="http://schemas.openxmlformats.org/officeDocument/2006/relationships/slideLayout" Target="../slideLayouts/slideLayout288.xml"/><Relationship Id="rId30" Type="http://schemas.openxmlformats.org/officeDocument/2006/relationships/image" Target="../media/image2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420331353"/>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859" r:id="rId23"/>
    <p:sldLayoutId id="2147483858" r:id="rId24"/>
    <p:sldLayoutId id="2147483781" r:id="rId25"/>
    <p:sldLayoutId id="2147483782" r:id="rId26"/>
    <p:sldLayoutId id="2147483783" r:id="rId27"/>
    <p:sldLayoutId id="2147483784" r:id="rId28"/>
    <p:sldLayoutId id="2147483785" r:id="rId29"/>
    <p:sldLayoutId id="2147483786" r:id="rId30"/>
    <p:sldLayoutId id="2147483787" r:id="rId31"/>
    <p:sldLayoutId id="2147483788" r:id="rId32"/>
    <p:sldLayoutId id="2147483789" r:id="rId33"/>
    <p:sldLayoutId id="2147483790" r:id="rId34"/>
    <p:sldLayoutId id="2147484074" r:id="rId35"/>
  </p:sldLayoutIdLst>
  <p:transition>
    <p:fade/>
  </p:transition>
  <p:hf sldNum="0"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87612516"/>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5" r:id="rId4"/>
    <p:sldLayoutId id="2147484146" r:id="rId5"/>
    <p:sldLayoutId id="2147484147" r:id="rId6"/>
    <p:sldLayoutId id="2147484148" r:id="rId7"/>
    <p:sldLayoutId id="2147484149" r:id="rId8"/>
    <p:sldLayoutId id="2147484150" r:id="rId9"/>
    <p:sldLayoutId id="2147484151" r:id="rId10"/>
    <p:sldLayoutId id="2147484152" r:id="rId11"/>
    <p:sldLayoutId id="2147484153" r:id="rId12"/>
    <p:sldLayoutId id="2147484154" r:id="rId13"/>
    <p:sldLayoutId id="2147484155" r:id="rId14"/>
    <p:sldLayoutId id="2147484156" r:id="rId15"/>
    <p:sldLayoutId id="2147484157" r:id="rId16"/>
    <p:sldLayoutId id="2147484158" r:id="rId17"/>
    <p:sldLayoutId id="2147484159" r:id="rId18"/>
    <p:sldLayoutId id="2147484160" r:id="rId19"/>
    <p:sldLayoutId id="2147484161" r:id="rId20"/>
    <p:sldLayoutId id="2147484162" r:id="rId21"/>
    <p:sldLayoutId id="2147484163" r:id="rId22"/>
    <p:sldLayoutId id="2147484164" r:id="rId23"/>
    <p:sldLayoutId id="2147484165" r:id="rId24"/>
    <p:sldLayoutId id="2147484166" r:id="rId25"/>
    <p:sldLayoutId id="2147484167" r:id="rId26"/>
    <p:sldLayoutId id="2147484168" r:id="rId27"/>
    <p:sldLayoutId id="2147484169" r:id="rId28"/>
    <p:sldLayoutId id="2147484170"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452632346"/>
      </p:ext>
    </p:extLst>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 id="2147484182" r:id="rId11"/>
    <p:sldLayoutId id="2147484183" r:id="rId12"/>
    <p:sldLayoutId id="2147484184" r:id="rId13"/>
    <p:sldLayoutId id="2147484185" r:id="rId14"/>
    <p:sldLayoutId id="2147484186" r:id="rId15"/>
    <p:sldLayoutId id="2147484187" r:id="rId16"/>
    <p:sldLayoutId id="2147484188" r:id="rId17"/>
    <p:sldLayoutId id="2147484189" r:id="rId18"/>
    <p:sldLayoutId id="2147484190" r:id="rId19"/>
    <p:sldLayoutId id="2147484191" r:id="rId20"/>
    <p:sldLayoutId id="2147484192" r:id="rId21"/>
    <p:sldLayoutId id="2147484193" r:id="rId22"/>
    <p:sldLayoutId id="2147484194" r:id="rId23"/>
    <p:sldLayoutId id="2147484195" r:id="rId24"/>
    <p:sldLayoutId id="2147484196" r:id="rId25"/>
    <p:sldLayoutId id="2147484197" r:id="rId26"/>
    <p:sldLayoutId id="2147484198" r:id="rId27"/>
    <p:sldLayoutId id="2147484199"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083554341"/>
      </p:ext>
    </p:extLst>
  </p:cSld>
  <p:clrMap bg1="lt1" tx1="dk1" bg2="lt2" tx2="dk2" accent1="accent1" accent2="accent2" accent3="accent3" accent4="accent4" accent5="accent5" accent6="accent6" hlink="hlink" folHlink="folHlink"/>
  <p:sldLayoutIdLst>
    <p:sldLayoutId id="2147484202" r:id="rId1"/>
    <p:sldLayoutId id="2147484203" r:id="rId2"/>
    <p:sldLayoutId id="2147484204" r:id="rId3"/>
    <p:sldLayoutId id="2147484205" r:id="rId4"/>
    <p:sldLayoutId id="2147484206" r:id="rId5"/>
    <p:sldLayoutId id="2147484207" r:id="rId6"/>
    <p:sldLayoutId id="2147484208" r:id="rId7"/>
    <p:sldLayoutId id="2147484209" r:id="rId8"/>
    <p:sldLayoutId id="2147484210" r:id="rId9"/>
    <p:sldLayoutId id="2147484211" r:id="rId10"/>
    <p:sldLayoutId id="2147484212" r:id="rId11"/>
    <p:sldLayoutId id="2147484213" r:id="rId12"/>
    <p:sldLayoutId id="2147484214" r:id="rId13"/>
    <p:sldLayoutId id="2147484215" r:id="rId14"/>
    <p:sldLayoutId id="2147484216" r:id="rId15"/>
    <p:sldLayoutId id="2147484217" r:id="rId16"/>
    <p:sldLayoutId id="2147484218" r:id="rId17"/>
    <p:sldLayoutId id="2147484219" r:id="rId18"/>
    <p:sldLayoutId id="2147484220" r:id="rId19"/>
    <p:sldLayoutId id="2147484221" r:id="rId20"/>
    <p:sldLayoutId id="2147484222" r:id="rId21"/>
    <p:sldLayoutId id="2147484223" r:id="rId22"/>
    <p:sldLayoutId id="2147484224" r:id="rId23"/>
    <p:sldLayoutId id="2147484225" r:id="rId24"/>
    <p:sldLayoutId id="2147484226" r:id="rId25"/>
    <p:sldLayoutId id="2147484227" r:id="rId26"/>
    <p:sldLayoutId id="2147484228" r:id="rId27"/>
    <p:sldLayoutId id="2147484229" r:id="rId28"/>
    <p:sldLayoutId id="2147484230" r:id="rId29"/>
    <p:sldLayoutId id="2147484231" r:id="rId30"/>
    <p:sldLayoutId id="2147484232" r:id="rId31"/>
    <p:sldLayoutId id="2147484233" r:id="rId32"/>
    <p:sldLayoutId id="2147484235" r:id="rId33"/>
    <p:sldLayoutId id="2147484236" r:id="rId34"/>
    <p:sldLayoutId id="2147484237" r:id="rId35"/>
  </p:sldLayoutIdLst>
  <p:transition>
    <p:fade/>
  </p:transition>
  <p:hf sldNum="0"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870269164"/>
      </p:ext>
    </p:extLst>
  </p:cSld>
  <p:clrMap bg1="lt1" tx1="dk1" bg2="lt2" tx2="dk2" accent1="accent1" accent2="accent2" accent3="accent3" accent4="accent4" accent5="accent5" accent6="accent6" hlink="hlink" folHlink="folHlink"/>
  <p:sldLayoutIdLst>
    <p:sldLayoutId id="2147484242" r:id="rId1"/>
    <p:sldLayoutId id="2147484243" r:id="rId2"/>
    <p:sldLayoutId id="2147484244" r:id="rId3"/>
    <p:sldLayoutId id="2147484245" r:id="rId4"/>
    <p:sldLayoutId id="2147484246" r:id="rId5"/>
    <p:sldLayoutId id="2147484247" r:id="rId6"/>
    <p:sldLayoutId id="2147484248" r:id="rId7"/>
    <p:sldLayoutId id="2147484249" r:id="rId8"/>
    <p:sldLayoutId id="2147484250" r:id="rId9"/>
    <p:sldLayoutId id="2147484251" r:id="rId10"/>
    <p:sldLayoutId id="2147484252" r:id="rId11"/>
    <p:sldLayoutId id="2147484253" r:id="rId12"/>
    <p:sldLayoutId id="2147484254" r:id="rId13"/>
    <p:sldLayoutId id="2147484255" r:id="rId14"/>
    <p:sldLayoutId id="2147484256" r:id="rId15"/>
    <p:sldLayoutId id="2147484257" r:id="rId16"/>
    <p:sldLayoutId id="2147484258" r:id="rId17"/>
    <p:sldLayoutId id="2147484259" r:id="rId18"/>
    <p:sldLayoutId id="2147484260" r:id="rId19"/>
    <p:sldLayoutId id="2147484261" r:id="rId20"/>
    <p:sldLayoutId id="2147484262" r:id="rId21"/>
    <p:sldLayoutId id="2147484263" r:id="rId22"/>
    <p:sldLayoutId id="2147484264" r:id="rId23"/>
    <p:sldLayoutId id="2147484265" r:id="rId24"/>
    <p:sldLayoutId id="2147484266" r:id="rId25"/>
    <p:sldLayoutId id="2147484267" r:id="rId26"/>
    <p:sldLayoutId id="2147484268" r:id="rId27"/>
    <p:sldLayoutId id="2147484269" r:id="rId28"/>
    <p:sldLayoutId id="2147484270" r:id="rId29"/>
    <p:sldLayoutId id="2147484271" r:id="rId30"/>
    <p:sldLayoutId id="2147484272" r:id="rId31"/>
    <p:sldLayoutId id="2147484273" r:id="rId32"/>
    <p:sldLayoutId id="2147484275" r:id="rId33"/>
    <p:sldLayoutId id="2147484276" r:id="rId34"/>
    <p:sldLayoutId id="2147484277" r:id="rId35"/>
    <p:sldLayoutId id="2147484280" r:id="rId36"/>
  </p:sldLayoutIdLst>
  <p:transition>
    <p:fade/>
  </p:transition>
  <p:hf sldNum="0"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rot="5400000">
            <a:off x="10325051" y="1919665"/>
            <a:ext cx="4214127" cy="401304"/>
          </a:xfrm>
          <a:prstGeom prst="rect">
            <a:avLst/>
          </a:prstGeom>
        </p:spPr>
      </p:pic>
    </p:spTree>
    <p:extLst>
      <p:ext uri="{BB962C8B-B14F-4D97-AF65-F5344CB8AC3E}">
        <p14:creationId xmlns:p14="http://schemas.microsoft.com/office/powerpoint/2010/main" val="3991645778"/>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7" r:id="rId16"/>
    <p:sldLayoutId id="2147483808" r:id="rId17"/>
    <p:sldLayoutId id="2147483809" r:id="rId18"/>
    <p:sldLayoutId id="2147483810" r:id="rId19"/>
    <p:sldLayoutId id="2147483811" r:id="rId20"/>
    <p:sldLayoutId id="2147483812" r:id="rId21"/>
    <p:sldLayoutId id="2147483813" r:id="rId22"/>
    <p:sldLayoutId id="2147483814" r:id="rId23"/>
    <p:sldLayoutId id="2147483815" r:id="rId24"/>
    <p:sldLayoutId id="2147483816" r:id="rId25"/>
    <p:sldLayoutId id="2147483817" r:id="rId26"/>
    <p:sldLayoutId id="2147483818" r:id="rId27"/>
    <p:sldLayoutId id="2147483819" r:id="rId28"/>
    <p:sldLayoutId id="2147483820" r:id="rId29"/>
    <p:sldLayoutId id="2147483821" r:id="rId30"/>
    <p:sldLayoutId id="2147483822" r:id="rId31"/>
    <p:sldLayoutId id="2147483823" r:id="rId32"/>
  </p:sldLayoutIdLst>
  <p:transition>
    <p:fade/>
  </p:transition>
  <p:hf sldNum="0"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9397" y="267869"/>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344124" y="1600200"/>
            <a:ext cx="11327267" cy="4572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73988379"/>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 id="2147483925" r:id="rId13"/>
    <p:sldLayoutId id="2147483926" r:id="rId14"/>
    <p:sldLayoutId id="2147483927" r:id="rId15"/>
    <p:sldLayoutId id="2147483928" r:id="rId16"/>
    <p:sldLayoutId id="2147483929" r:id="rId17"/>
    <p:sldLayoutId id="2147483930" r:id="rId18"/>
    <p:sldLayoutId id="2147483931" r:id="rId19"/>
    <p:sldLayoutId id="2147483932" r:id="rId20"/>
    <p:sldLayoutId id="2147483933" r:id="rId21"/>
    <p:sldLayoutId id="2147484000" r:id="rId22"/>
  </p:sldLayoutIdLst>
  <p:transition>
    <p:fade/>
  </p:transition>
  <p:hf sldNum="0" hdr="0" ftr="0" dt="0"/>
  <p:txStyles>
    <p:titleStyle>
      <a:lvl1pPr marL="0" algn="l" defTabSz="1088105" rtl="0" eaLnBrk="1" latinLnBrk="0" hangingPunct="1">
        <a:lnSpc>
          <a:spcPct val="90000"/>
        </a:lnSpc>
        <a:spcBef>
          <a:spcPct val="0"/>
        </a:spcBef>
        <a:buNone/>
        <a:defRPr lang="en-US" sz="4000" kern="1200" spc="-58" baseline="0" dirty="0">
          <a:solidFill>
            <a:schemeClr val="tx1"/>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chemeClr val="accent4"/>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55">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872">
          <p15:clr>
            <a:srgbClr val="5ACBF0"/>
          </p15:clr>
        </p15:guide>
        <p15:guide id="16" orient="horz" pos="1296">
          <p15:clr>
            <a:srgbClr val="5ACBF0"/>
          </p15:clr>
        </p15:guide>
        <p15:guide id="17" orient="horz" pos="720">
          <p15:clr>
            <a:srgbClr val="5ACBF0"/>
          </p15:clr>
        </p15:guide>
        <p15:guide id="18" orient="horz" pos="144">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orient="horz" pos="2160">
          <p15:clr>
            <a:srgbClr val="F26B43"/>
          </p15:clr>
        </p15:guide>
        <p15:guide id="24" orient="horz" pos="240">
          <p15:clr>
            <a:srgbClr val="F26B43"/>
          </p15:clr>
        </p15:guide>
        <p15:guide id="25" orient="horz" pos="4080">
          <p15:clr>
            <a:srgbClr val="F26B43"/>
          </p15:clr>
        </p15:guide>
        <p15:guide id="26" pos="3839">
          <p15:clr>
            <a:srgbClr val="F26B43"/>
          </p15:clr>
        </p15:guide>
        <p15:guide id="27" pos="191">
          <p15:clr>
            <a:srgbClr val="F26B43"/>
          </p15:clr>
        </p15:guide>
        <p15:guide id="28" pos="748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9397" y="267869"/>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344124" y="1600200"/>
            <a:ext cx="11327267" cy="4572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081286632"/>
      </p:ext>
    </p:extLst>
  </p:cSld>
  <p:clrMap bg1="lt1" tx1="dk1" bg2="lt2" tx2="dk2" accent1="accent1" accent2="accent2" accent3="accent3" accent4="accent4" accent5="accent5" accent6="accent6" hlink="hlink" folHlink="folHlink"/>
  <p:sldLayoutIdLst>
    <p:sldLayoutId id="2147483935" r:id="rId1"/>
    <p:sldLayoutId id="2147483936" r:id="rId2"/>
    <p:sldLayoutId id="2147483937" r:id="rId3"/>
    <p:sldLayoutId id="2147483938" r:id="rId4"/>
    <p:sldLayoutId id="2147483939" r:id="rId5"/>
    <p:sldLayoutId id="2147483940" r:id="rId6"/>
    <p:sldLayoutId id="2147483941" r:id="rId7"/>
    <p:sldLayoutId id="2147483942" r:id="rId8"/>
    <p:sldLayoutId id="2147483943" r:id="rId9"/>
    <p:sldLayoutId id="2147483944" r:id="rId10"/>
    <p:sldLayoutId id="2147483945" r:id="rId11"/>
    <p:sldLayoutId id="2147483946" r:id="rId12"/>
    <p:sldLayoutId id="2147483947" r:id="rId13"/>
    <p:sldLayoutId id="2147483948" r:id="rId14"/>
    <p:sldLayoutId id="2147483949" r:id="rId15"/>
    <p:sldLayoutId id="2147483950" r:id="rId16"/>
    <p:sldLayoutId id="2147483951" r:id="rId17"/>
    <p:sldLayoutId id="2147483952" r:id="rId18"/>
    <p:sldLayoutId id="2147483953" r:id="rId19"/>
    <p:sldLayoutId id="2147483954" r:id="rId20"/>
    <p:sldLayoutId id="2147483955" r:id="rId21"/>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tx1"/>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chemeClr val="accent4"/>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55">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872">
          <p15:clr>
            <a:srgbClr val="5ACBF0"/>
          </p15:clr>
        </p15:guide>
        <p15:guide id="16" orient="horz" pos="1296">
          <p15:clr>
            <a:srgbClr val="5ACBF0"/>
          </p15:clr>
        </p15:guide>
        <p15:guide id="17" orient="horz" pos="720">
          <p15:clr>
            <a:srgbClr val="5ACBF0"/>
          </p15:clr>
        </p15:guide>
        <p15:guide id="18" orient="horz" pos="144">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orient="horz" pos="2160">
          <p15:clr>
            <a:srgbClr val="F26B43"/>
          </p15:clr>
        </p15:guide>
        <p15:guide id="24" orient="horz" pos="240">
          <p15:clr>
            <a:srgbClr val="F26B43"/>
          </p15:clr>
        </p15:guide>
        <p15:guide id="25" orient="horz" pos="4080">
          <p15:clr>
            <a:srgbClr val="F26B43"/>
          </p15:clr>
        </p15:guide>
        <p15:guide id="26" pos="3839">
          <p15:clr>
            <a:srgbClr val="F26B43"/>
          </p15:clr>
        </p15:guide>
        <p15:guide id="27" pos="191">
          <p15:clr>
            <a:srgbClr val="F26B43"/>
          </p15:clr>
        </p15:guide>
        <p15:guide id="28" pos="748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79655683"/>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Lst>
  <p:transition>
    <p:fade/>
  </p:transition>
  <p:hf sldNum="0" hdr="0" ftr="0" dt="0"/>
  <p:txStyles>
    <p:titleStyle>
      <a:lvl1pPr algn="l" defTabSz="914016" rtl="0" eaLnBrk="1" latinLnBrk="0" hangingPunct="1">
        <a:lnSpc>
          <a:spcPct val="90000"/>
        </a:lnSpc>
        <a:spcBef>
          <a:spcPct val="0"/>
        </a:spcBef>
        <a:buNone/>
        <a:defRPr lang="en-US" sz="5292" b="0" kern="1200" cap="none" spc="-100" baseline="0" dirty="0" smtClean="0">
          <a:ln w="3175">
            <a:noFill/>
          </a:ln>
          <a:solidFill>
            <a:schemeClr val="accent3"/>
          </a:soli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783107"/>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 id="2147484010" r:id="rId9"/>
    <p:sldLayoutId id="2147484011" r:id="rId10"/>
    <p:sldLayoutId id="2147484012" r:id="rId11"/>
    <p:sldLayoutId id="2147484013" r:id="rId12"/>
    <p:sldLayoutId id="2147484014" r:id="rId13"/>
    <p:sldLayoutId id="2147484015" r:id="rId14"/>
    <p:sldLayoutId id="2147484016" r:id="rId15"/>
    <p:sldLayoutId id="2147484017" r:id="rId16"/>
    <p:sldLayoutId id="2147484018" r:id="rId17"/>
    <p:sldLayoutId id="2147484019" r:id="rId18"/>
    <p:sldLayoutId id="2147484020" r:id="rId19"/>
    <p:sldLayoutId id="2147484021" r:id="rId20"/>
    <p:sldLayoutId id="2147484022" r:id="rId21"/>
    <p:sldLayoutId id="2147484023" r:id="rId22"/>
    <p:sldLayoutId id="2147484024" r:id="rId23"/>
    <p:sldLayoutId id="2147484025" r:id="rId24"/>
    <p:sldLayoutId id="2147484026" r:id="rId25"/>
    <p:sldLayoutId id="2147484027" r:id="rId26"/>
    <p:sldLayoutId id="2147484028" r:id="rId27"/>
    <p:sldLayoutId id="2147484029" r:id="rId28"/>
    <p:sldLayoutId id="2147484030" r:id="rId29"/>
    <p:sldLayoutId id="2147484031" r:id="rId30"/>
    <p:sldLayoutId id="2147484032" r:id="rId31"/>
    <p:sldLayoutId id="2147484033" r:id="rId32"/>
    <p:sldLayoutId id="2147484034" r:id="rId33"/>
    <p:sldLayoutId id="2147484035" r:id="rId34"/>
    <p:sldLayoutId id="2147484036" r:id="rId35"/>
    <p:sldLayoutId id="2147484037" r:id="rId36"/>
    <p:sldLayoutId id="2147484038" r:id="rId37"/>
    <p:sldLayoutId id="2147484039" r:id="rId38"/>
    <p:sldLayoutId id="2147484040" r:id="rId39"/>
    <p:sldLayoutId id="2147484041" r:id="rId40"/>
    <p:sldLayoutId id="2147484042" r:id="rId41"/>
    <p:sldLayoutId id="2147484043" r:id="rId42"/>
    <p:sldLayoutId id="2147484044" r:id="rId43"/>
  </p:sldLayoutIdLst>
  <p:transition>
    <p:fade/>
  </p:transition>
  <p:hf sldNum="0" hdr="0" ftr="0" dt="0"/>
  <p:txStyles>
    <p:titleStyle>
      <a:lvl1pPr algn="l" defTabSz="914192" rtl="0" eaLnBrk="1" latinLnBrk="0" hangingPunct="1">
        <a:lnSpc>
          <a:spcPct val="90000"/>
        </a:lnSpc>
        <a:spcBef>
          <a:spcPct val="0"/>
        </a:spcBef>
        <a:buNone/>
        <a:defRPr lang="en-US" sz="5293" b="0" kern="1200" cap="none" spc="-100" baseline="0" dirty="0" smtClean="0">
          <a:ln w="3175">
            <a:noFill/>
          </a:ln>
          <a:solidFill>
            <a:schemeClr val="accent3"/>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899350318"/>
      </p:ext>
    </p:extLst>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 id="2147484056" r:id="rId11"/>
    <p:sldLayoutId id="2147484057" r:id="rId12"/>
    <p:sldLayoutId id="2147484058" r:id="rId13"/>
    <p:sldLayoutId id="2147484059" r:id="rId14"/>
    <p:sldLayoutId id="2147484060" r:id="rId15"/>
    <p:sldLayoutId id="2147484061" r:id="rId16"/>
    <p:sldLayoutId id="2147484062" r:id="rId17"/>
    <p:sldLayoutId id="2147484063" r:id="rId18"/>
    <p:sldLayoutId id="2147484064" r:id="rId19"/>
    <p:sldLayoutId id="2147484065" r:id="rId20"/>
    <p:sldLayoutId id="2147484066" r:id="rId21"/>
    <p:sldLayoutId id="2147484067" r:id="rId22"/>
    <p:sldLayoutId id="2147484068" r:id="rId23"/>
    <p:sldLayoutId id="2147484069" r:id="rId24"/>
    <p:sldLayoutId id="2147484070" r:id="rId25"/>
    <p:sldLayoutId id="2147484071" r:id="rId26"/>
    <p:sldLayoutId id="2147484072" r:id="rId27"/>
    <p:sldLayoutId id="2147484073"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9" cstate="screen">
            <a:extLst>
              <a:ext uri="{28A0092B-C50C-407E-A947-70E740481C1C}">
                <a14:useLocalDpi xmlns:a14="http://schemas.microsoft.com/office/drawing/2010/main"/>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406136810"/>
      </p:ext>
    </p:extLst>
  </p:cSld>
  <p:clrMap bg1="lt1" tx1="dk1" bg2="lt2" tx2="dk2" accent1="accent1" accent2="accent2" accent3="accent3" accent4="accent4" accent5="accent5" accent6="accent6" hlink="hlink" folHlink="folHlink"/>
  <p:sldLayoutIdLst>
    <p:sldLayoutId id="2147484076" r:id="rId1"/>
    <p:sldLayoutId id="2147484077" r:id="rId2"/>
    <p:sldLayoutId id="2147484078" r:id="rId3"/>
    <p:sldLayoutId id="2147484079" r:id="rId4"/>
    <p:sldLayoutId id="2147484080" r:id="rId5"/>
    <p:sldLayoutId id="2147484081" r:id="rId6"/>
    <p:sldLayoutId id="2147484082" r:id="rId7"/>
    <p:sldLayoutId id="2147484083" r:id="rId8"/>
    <p:sldLayoutId id="2147484084" r:id="rId9"/>
    <p:sldLayoutId id="2147484085" r:id="rId10"/>
    <p:sldLayoutId id="2147484086" r:id="rId11"/>
    <p:sldLayoutId id="2147484087" r:id="rId12"/>
    <p:sldLayoutId id="2147484088" r:id="rId13"/>
    <p:sldLayoutId id="2147484089" r:id="rId14"/>
    <p:sldLayoutId id="2147484090" r:id="rId15"/>
    <p:sldLayoutId id="2147484091" r:id="rId16"/>
    <p:sldLayoutId id="2147484092" r:id="rId17"/>
    <p:sldLayoutId id="2147484093" r:id="rId18"/>
    <p:sldLayoutId id="2147484094" r:id="rId19"/>
    <p:sldLayoutId id="2147484095" r:id="rId20"/>
    <p:sldLayoutId id="2147484096" r:id="rId21"/>
    <p:sldLayoutId id="2147484097" r:id="rId22"/>
    <p:sldLayoutId id="2147484098" r:id="rId23"/>
    <p:sldLayoutId id="2147484099" r:id="rId24"/>
    <p:sldLayoutId id="2147484100" r:id="rId25"/>
    <p:sldLayoutId id="2147484101" r:id="rId26"/>
    <p:sldLayoutId id="2147484102" r:id="rId27"/>
    <p:sldLayoutId id="2147484103" r:id="rId28"/>
    <p:sldLayoutId id="2147484104" r:id="rId29"/>
    <p:sldLayoutId id="2147484105" r:id="rId30"/>
    <p:sldLayoutId id="2147484106" r:id="rId31"/>
    <p:sldLayoutId id="2147484107" r:id="rId32"/>
    <p:sldLayoutId id="2147484108" r:id="rId33"/>
    <p:sldLayoutId id="2147484109" r:id="rId34"/>
    <p:sldLayoutId id="2147484110" r:id="rId35"/>
    <p:sldLayoutId id="2147484238" r:id="rId36"/>
    <p:sldLayoutId id="2147484239" r:id="rId37"/>
  </p:sldLayoutIdLst>
  <p:transition>
    <p:fade/>
  </p:transition>
  <p:hf sldNum="0"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38438255"/>
      </p:ext>
    </p:extLst>
  </p:cSld>
  <p:clrMap bg1="lt1" tx1="dk1" bg2="lt2" tx2="dk2" accent1="accent1" accent2="accent2" accent3="accent3" accent4="accent4" accent5="accent5" accent6="accent6" hlink="hlink" folHlink="folHlink"/>
  <p:sldLayoutIdLst>
    <p:sldLayoutId id="2147484112" r:id="rId1"/>
    <p:sldLayoutId id="2147484113" r:id="rId2"/>
    <p:sldLayoutId id="2147484114" r:id="rId3"/>
    <p:sldLayoutId id="2147484115" r:id="rId4"/>
    <p:sldLayoutId id="2147484116" r:id="rId5"/>
    <p:sldLayoutId id="2147484117" r:id="rId6"/>
    <p:sldLayoutId id="2147484118" r:id="rId7"/>
    <p:sldLayoutId id="2147484119" r:id="rId8"/>
    <p:sldLayoutId id="2147484120" r:id="rId9"/>
    <p:sldLayoutId id="2147484121" r:id="rId10"/>
    <p:sldLayoutId id="2147484122" r:id="rId11"/>
    <p:sldLayoutId id="2147484123" r:id="rId12"/>
    <p:sldLayoutId id="2147484124" r:id="rId13"/>
    <p:sldLayoutId id="2147484125" r:id="rId14"/>
    <p:sldLayoutId id="2147484126" r:id="rId15"/>
    <p:sldLayoutId id="2147484127" r:id="rId16"/>
    <p:sldLayoutId id="2147484128" r:id="rId17"/>
    <p:sldLayoutId id="2147484129" r:id="rId18"/>
    <p:sldLayoutId id="2147484130" r:id="rId19"/>
    <p:sldLayoutId id="2147484131" r:id="rId20"/>
    <p:sldLayoutId id="2147484132" r:id="rId21"/>
    <p:sldLayoutId id="2147484133" r:id="rId22"/>
    <p:sldLayoutId id="2147484134" r:id="rId23"/>
    <p:sldLayoutId id="2147484135" r:id="rId24"/>
    <p:sldLayoutId id="2147484136" r:id="rId25"/>
    <p:sldLayoutId id="2147484137" r:id="rId26"/>
    <p:sldLayoutId id="2147484138" r:id="rId27"/>
    <p:sldLayoutId id="2147484139"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74.xml"/></Relationships>
</file>

<file path=ppt/slides/_rels/slide11.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1.png"/><Relationship Id="rId17" Type="http://schemas.openxmlformats.org/officeDocument/2006/relationships/image" Target="../media/image56.png"/><Relationship Id="rId2" Type="http://schemas.openxmlformats.org/officeDocument/2006/relationships/notesSlide" Target="../notesSlides/notesSlide10.xml"/><Relationship Id="rId16" Type="http://schemas.openxmlformats.org/officeDocument/2006/relationships/image" Target="../media/image55.png"/><Relationship Id="rId1" Type="http://schemas.openxmlformats.org/officeDocument/2006/relationships/slideLayout" Target="../slideLayouts/slideLayout274.xml"/><Relationship Id="rId6" Type="http://schemas.openxmlformats.org/officeDocument/2006/relationships/image" Target="../media/image45.png"/><Relationship Id="rId11" Type="http://schemas.openxmlformats.org/officeDocument/2006/relationships/image" Target="../media/image50.png"/><Relationship Id="rId5" Type="http://schemas.openxmlformats.org/officeDocument/2006/relationships/image" Target="../media/image44.png"/><Relationship Id="rId15" Type="http://schemas.openxmlformats.org/officeDocument/2006/relationships/image" Target="../media/image54.png"/><Relationship Id="rId10" Type="http://schemas.openxmlformats.org/officeDocument/2006/relationships/image" Target="../media/image49.png"/><Relationship Id="rId4" Type="http://schemas.openxmlformats.org/officeDocument/2006/relationships/image" Target="../media/image43.png"/><Relationship Id="rId9" Type="http://schemas.openxmlformats.org/officeDocument/2006/relationships/image" Target="../media/image48.png"/><Relationship Id="rId14" Type="http://schemas.openxmlformats.org/officeDocument/2006/relationships/image" Target="../media/image53.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74.xml"/></Relationships>
</file>

<file path=ppt/slides/_rels/slide1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2.xml"/><Relationship Id="rId1" Type="http://schemas.openxmlformats.org/officeDocument/2006/relationships/slideLayout" Target="../slideLayouts/slideLayout274.xml"/></Relationships>
</file>

<file path=ppt/slides/_rels/slide1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3.xml"/><Relationship Id="rId1" Type="http://schemas.openxmlformats.org/officeDocument/2006/relationships/slideLayout" Target="../slideLayouts/slideLayout297.xml"/><Relationship Id="rId5" Type="http://schemas.openxmlformats.org/officeDocument/2006/relationships/image" Target="../media/image60.png"/><Relationship Id="rId4" Type="http://schemas.openxmlformats.org/officeDocument/2006/relationships/image" Target="../media/image59.png"/></Relationships>
</file>

<file path=ppt/slides/_rels/slide1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4.xml"/><Relationship Id="rId1" Type="http://schemas.openxmlformats.org/officeDocument/2006/relationships/slideLayout" Target="../slideLayouts/slideLayout318.xml"/></Relationships>
</file>

<file path=ppt/slides/_rels/slide1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5.xml"/><Relationship Id="rId1" Type="http://schemas.openxmlformats.org/officeDocument/2006/relationships/slideLayout" Target="../slideLayouts/slideLayout302.xml"/></Relationships>
</file>

<file path=ppt/slides/_rels/slide1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6.xml"/><Relationship Id="rId1" Type="http://schemas.openxmlformats.org/officeDocument/2006/relationships/slideLayout" Target="../slideLayouts/slideLayout302.xml"/></Relationships>
</file>

<file path=ppt/slides/_rels/slide18.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17.xml"/><Relationship Id="rId1" Type="http://schemas.openxmlformats.org/officeDocument/2006/relationships/slideLayout" Target="../slideLayouts/slideLayout331.xml"/><Relationship Id="rId4" Type="http://schemas.openxmlformats.org/officeDocument/2006/relationships/image" Target="../media/image65.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3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0.xml"/><Relationship Id="rId1" Type="http://schemas.openxmlformats.org/officeDocument/2006/relationships/slideLayout" Target="../slideLayouts/slideLayout362.xml"/><Relationship Id="rId5" Type="http://schemas.openxmlformats.org/officeDocument/2006/relationships/image" Target="../media/image67.emf"/><Relationship Id="rId4" Type="http://schemas.openxmlformats.org/officeDocument/2006/relationships/image" Target="../media/image58.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59.xml"/></Relationships>
</file>

<file path=ppt/slides/_rels/slide2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2.xml"/><Relationship Id="rId1" Type="http://schemas.openxmlformats.org/officeDocument/2006/relationships/slideLayout" Target="../slideLayouts/slideLayout240.xml"/></Relationships>
</file>

<file path=ppt/slides/_rels/slide2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3.xml"/><Relationship Id="rId1" Type="http://schemas.openxmlformats.org/officeDocument/2006/relationships/slideLayout" Target="../slideLayouts/slideLayout240.xml"/></Relationships>
</file>

<file path=ppt/slides/_rels/slide2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60.xml"/></Relationships>
</file>

<file path=ppt/slides/_rels/slide27.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notesSlide" Target="../notesSlides/notesSlide24.xml"/><Relationship Id="rId1" Type="http://schemas.openxmlformats.org/officeDocument/2006/relationships/slideLayout" Target="../slideLayouts/slideLayout261.xml"/></Relationships>
</file>

<file path=ppt/slides/_rels/slide28.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25.xml"/><Relationship Id="rId1" Type="http://schemas.openxmlformats.org/officeDocument/2006/relationships/slideLayout" Target="../slideLayouts/slideLayout240.xml"/></Relationships>
</file>

<file path=ppt/slides/_rels/slide2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6.xml"/><Relationship Id="rId1" Type="http://schemas.openxmlformats.org/officeDocument/2006/relationships/slideLayout" Target="../slideLayouts/slideLayout240.xml"/><Relationship Id="rId4" Type="http://schemas.openxmlformats.org/officeDocument/2006/relationships/image" Target="../media/image73.jpeg"/></Relationships>
</file>

<file path=ppt/slides/_rels/slide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xml"/><Relationship Id="rId1" Type="http://schemas.openxmlformats.org/officeDocument/2006/relationships/slideLayout" Target="../slideLayouts/slideLayout249.xml"/><Relationship Id="rId4" Type="http://schemas.openxmlformats.org/officeDocument/2006/relationships/image" Target="../media/image35.png"/></Relationships>
</file>

<file path=ppt/slides/_rels/slide30.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Layout" Target="../slideLayouts/slideLayout24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40.xml"/></Relationships>
</file>

<file path=ppt/slides/_rels/slide3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8.xml"/><Relationship Id="rId1" Type="http://schemas.openxmlformats.org/officeDocument/2006/relationships/slideLayout" Target="../slideLayouts/slideLayout24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4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5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62.xml"/></Relationships>
</file>

<file path=ppt/slides/_rels/slide3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32.xml"/><Relationship Id="rId1" Type="http://schemas.openxmlformats.org/officeDocument/2006/relationships/slideLayout" Target="../slideLayouts/slideLayout362.xml"/></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3.xml"/><Relationship Id="rId1" Type="http://schemas.openxmlformats.org/officeDocument/2006/relationships/slideLayout" Target="../slideLayouts/slideLayout36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6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62.xml"/></Relationships>
</file>

<file path=ppt/slides/_rels/slide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3.xml"/><Relationship Id="rId1" Type="http://schemas.openxmlformats.org/officeDocument/2006/relationships/slideLayout" Target="../slideLayouts/slideLayout239.xml"/></Relationships>
</file>

<file path=ppt/slides/_rels/slide4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6.xml"/><Relationship Id="rId1" Type="http://schemas.openxmlformats.org/officeDocument/2006/relationships/slideLayout" Target="../slideLayouts/slideLayout362.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36.xml"/></Relationships>
</file>

<file path=ppt/slides/_rels/slide4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7.xml"/><Relationship Id="rId1" Type="http://schemas.openxmlformats.org/officeDocument/2006/relationships/slideLayout" Target="../slideLayouts/slideLayout274.xml"/></Relationships>
</file>

<file path=ppt/slides/_rels/slide4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8.xml"/><Relationship Id="rId1" Type="http://schemas.openxmlformats.org/officeDocument/2006/relationships/slideLayout" Target="../slideLayouts/slideLayout274.xml"/><Relationship Id="rId4" Type="http://schemas.openxmlformats.org/officeDocument/2006/relationships/image" Target="../media/image84.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3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31.xml"/></Relationships>
</file>

<file path=ppt/slides/_rels/slide4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1.xml"/><Relationship Id="rId1" Type="http://schemas.openxmlformats.org/officeDocument/2006/relationships/slideLayout" Target="../slideLayouts/slideLayout27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69.xml"/></Relationships>
</file>

<file path=ppt/slides/_rels/slide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xml"/><Relationship Id="rId1" Type="http://schemas.openxmlformats.org/officeDocument/2006/relationships/slideLayout" Target="../slideLayouts/slideLayout41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5.xml"/></Relationships>
</file>

<file path=ppt/slides/_rels/slide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6.xml"/><Relationship Id="rId1" Type="http://schemas.openxmlformats.org/officeDocument/2006/relationships/slideLayout" Target="../slideLayouts/slideLayout239.xml"/><Relationship Id="rId6" Type="http://schemas.microsoft.com/office/2007/relationships/hdphoto" Target="../media/hdphoto2.wdp"/><Relationship Id="rId5" Type="http://schemas.openxmlformats.org/officeDocument/2006/relationships/image" Target="../media/image40.png"/><Relationship Id="rId4" Type="http://schemas.openxmlformats.org/officeDocument/2006/relationships/image" Target="../media/image39.png"/></Relationships>
</file>

<file path=ppt/slides/_rels/slide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27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1189176"/>
            <a:ext cx="11653523" cy="5740033"/>
          </a:xfrm>
        </p:spPr>
        <p:txBody>
          <a:bodyPr/>
          <a:lstStyle/>
          <a:p>
            <a:pPr>
              <a:lnSpc>
                <a:spcPct val="100000"/>
              </a:lnSpc>
              <a:spcBef>
                <a:spcPts val="600"/>
              </a:spcBef>
            </a:pPr>
            <a:r>
              <a:rPr lang="en-US" sz="1200" dirty="0">
                <a:solidFill>
                  <a:schemeClr val="tx2"/>
                </a:solidFill>
              </a:rPr>
              <a:t>The purpose of this talk is to inspire the Computer Science student audience. We want them to walk away with a practical application towards what they are learning as developers and technology decision-makers of the future. A talk like this helps build their conceptual knowledge of cybersecurity, how computer scientists might approach solving key technical problems. It also might increase their interest in pursuing a career in cybersecurity too.</a:t>
            </a:r>
          </a:p>
          <a:p>
            <a:pPr>
              <a:lnSpc>
                <a:spcPct val="100000"/>
              </a:lnSpc>
              <a:spcBef>
                <a:spcPts val="600"/>
              </a:spcBef>
            </a:pPr>
            <a:r>
              <a:rPr lang="en-US" sz="1200" dirty="0">
                <a:solidFill>
                  <a:schemeClr val="tx2"/>
                </a:solidFill>
              </a:rPr>
              <a:t>The overall feel of the presentation should be to:</a:t>
            </a:r>
          </a:p>
          <a:p>
            <a:pPr lvl="1">
              <a:lnSpc>
                <a:spcPct val="100000"/>
              </a:lnSpc>
              <a:spcBef>
                <a:spcPts val="600"/>
              </a:spcBef>
            </a:pPr>
            <a:r>
              <a:rPr lang="en-US" sz="1200" b="1" dirty="0">
                <a:solidFill>
                  <a:schemeClr val="tx2"/>
                </a:solidFill>
                <a:latin typeface="+mj-lt"/>
              </a:rPr>
              <a:t>Connect</a:t>
            </a:r>
            <a:r>
              <a:rPr lang="en-US" sz="1200" dirty="0">
                <a:solidFill>
                  <a:schemeClr val="tx2"/>
                </a:solidFill>
                <a:latin typeface="+mj-lt"/>
              </a:rPr>
              <a:t> the subject matter to the audience. Make it personal for them so that they can identify with it. Tell them a story!</a:t>
            </a:r>
          </a:p>
          <a:p>
            <a:pPr lvl="1">
              <a:lnSpc>
                <a:spcPct val="100000"/>
              </a:lnSpc>
              <a:spcBef>
                <a:spcPts val="600"/>
              </a:spcBef>
            </a:pPr>
            <a:r>
              <a:rPr lang="en-US" sz="1200" b="1" dirty="0">
                <a:solidFill>
                  <a:schemeClr val="tx2"/>
                </a:solidFill>
                <a:latin typeface="+mj-lt"/>
              </a:rPr>
              <a:t>Narrate</a:t>
            </a:r>
            <a:r>
              <a:rPr lang="en-US" sz="1200" dirty="0">
                <a:solidFill>
                  <a:schemeClr val="tx2"/>
                </a:solidFill>
                <a:latin typeface="+mj-lt"/>
              </a:rPr>
              <a:t> the stories so that the audience can get caught up in them. This helps to anchor the thoughts</a:t>
            </a:r>
          </a:p>
          <a:p>
            <a:pPr lvl="1">
              <a:lnSpc>
                <a:spcPct val="100000"/>
              </a:lnSpc>
              <a:spcBef>
                <a:spcPts val="600"/>
              </a:spcBef>
            </a:pPr>
            <a:r>
              <a:rPr lang="en-US" sz="1200" b="1" dirty="0">
                <a:solidFill>
                  <a:schemeClr val="tx2"/>
                </a:solidFill>
                <a:latin typeface="+mj-lt"/>
              </a:rPr>
              <a:t>Explain</a:t>
            </a:r>
            <a:r>
              <a:rPr lang="en-US" sz="1200" dirty="0">
                <a:solidFill>
                  <a:schemeClr val="tx2"/>
                </a:solidFill>
                <a:latin typeface="+mj-lt"/>
              </a:rPr>
              <a:t> the concepts by making them reachable no matter what the educational level. Use metaphors and introduce concepts one by one.</a:t>
            </a:r>
          </a:p>
          <a:p>
            <a:pPr lvl="1">
              <a:lnSpc>
                <a:spcPct val="100000"/>
              </a:lnSpc>
              <a:spcBef>
                <a:spcPts val="600"/>
              </a:spcBef>
            </a:pPr>
            <a:r>
              <a:rPr lang="en-US" sz="1200" b="1" dirty="0">
                <a:solidFill>
                  <a:schemeClr val="tx2"/>
                </a:solidFill>
                <a:latin typeface="+mj-lt"/>
              </a:rPr>
              <a:t>Persuade</a:t>
            </a:r>
            <a:r>
              <a:rPr lang="en-US" sz="1200" dirty="0">
                <a:solidFill>
                  <a:schemeClr val="tx2"/>
                </a:solidFill>
                <a:latin typeface="+mj-lt"/>
              </a:rPr>
              <a:t> the audience that cybercrime is a real issue and that the right people to help to solve the crimes are right in front of you! You can do this through stirring their curiosity and reminding them that they are in the right field of study to enter the arena of the White Hats.</a:t>
            </a:r>
          </a:p>
          <a:p>
            <a:pPr lvl="1">
              <a:lnSpc>
                <a:spcPct val="100000"/>
              </a:lnSpc>
              <a:spcBef>
                <a:spcPts val="600"/>
              </a:spcBef>
            </a:pPr>
            <a:r>
              <a:rPr lang="en-US" sz="1200" b="1" dirty="0">
                <a:solidFill>
                  <a:schemeClr val="tx2"/>
                </a:solidFill>
                <a:latin typeface="+mj-lt"/>
              </a:rPr>
              <a:t>Revelation! Use all of your stories and metaphors in this talk to reinforce the </a:t>
            </a:r>
            <a:r>
              <a:rPr lang="en-US" sz="1200" b="1" dirty="0" err="1">
                <a:solidFill>
                  <a:schemeClr val="tx2"/>
                </a:solidFill>
                <a:latin typeface="+mj-lt"/>
              </a:rPr>
              <a:t>throughline</a:t>
            </a:r>
            <a:r>
              <a:rPr lang="en-US" sz="1200" b="1" dirty="0">
                <a:solidFill>
                  <a:schemeClr val="tx2"/>
                </a:solidFill>
                <a:latin typeface="+mj-lt"/>
              </a:rPr>
              <a:t>  (the point that we keep coming back to in this talk) – that this audience is part of the solution to all that puzzles us about cybersecurity.</a:t>
            </a:r>
            <a:endParaRPr lang="en-US" sz="1200" dirty="0">
              <a:solidFill>
                <a:schemeClr val="tx2"/>
              </a:solidFill>
              <a:latin typeface="+mj-lt"/>
            </a:endParaRPr>
          </a:p>
          <a:p>
            <a:pPr>
              <a:lnSpc>
                <a:spcPct val="100000"/>
              </a:lnSpc>
              <a:spcBef>
                <a:spcPts val="600"/>
              </a:spcBef>
            </a:pPr>
            <a:r>
              <a:rPr lang="en-US" sz="1200" dirty="0">
                <a:solidFill>
                  <a:schemeClr val="tx2"/>
                </a:solidFill>
              </a:rPr>
              <a:t>Speakers should review reference materials, read recent news articles of cybercrime, and technical solutions in order to for Q&amp;A to be as beneficial as possible.</a:t>
            </a:r>
          </a:p>
          <a:p>
            <a:pPr>
              <a:lnSpc>
                <a:spcPct val="100000"/>
              </a:lnSpc>
              <a:spcBef>
                <a:spcPts val="600"/>
              </a:spcBef>
            </a:pPr>
            <a:r>
              <a:rPr lang="en-US" sz="1200" b="1" dirty="0">
                <a:solidFill>
                  <a:schemeClr val="tx2"/>
                </a:solidFill>
              </a:rPr>
              <a:t> LOCALIZATION NOTES:</a:t>
            </a:r>
          </a:p>
          <a:p>
            <a:pPr lvl="1">
              <a:lnSpc>
                <a:spcPct val="100000"/>
              </a:lnSpc>
              <a:spcBef>
                <a:spcPts val="600"/>
              </a:spcBef>
            </a:pPr>
            <a:r>
              <a:rPr lang="en-US" sz="1200" dirty="0">
                <a:solidFill>
                  <a:schemeClr val="tx2"/>
                </a:solidFill>
                <a:latin typeface="+mj-lt"/>
              </a:rPr>
              <a:t>Feel free to change the initial slide to reflect a fictionalized and popular theft that will make the point to your audience. We want to draw the line between fact and fictionalized crime.</a:t>
            </a:r>
          </a:p>
          <a:p>
            <a:pPr lvl="1">
              <a:lnSpc>
                <a:spcPct val="100000"/>
              </a:lnSpc>
              <a:spcBef>
                <a:spcPts val="600"/>
              </a:spcBef>
            </a:pPr>
            <a:r>
              <a:rPr lang="en-US" sz="1200" dirty="0">
                <a:solidFill>
                  <a:schemeClr val="tx2"/>
                </a:solidFill>
                <a:latin typeface="+mj-lt"/>
              </a:rPr>
              <a:t>If you have a locally popular cyber crime news story, please add it or substitute it in the presentation, as well.</a:t>
            </a:r>
          </a:p>
          <a:p>
            <a:pPr lvl="1">
              <a:lnSpc>
                <a:spcPct val="100000"/>
              </a:lnSpc>
              <a:spcBef>
                <a:spcPts val="600"/>
              </a:spcBef>
            </a:pPr>
            <a:r>
              <a:rPr lang="en-US" sz="1200" dirty="0">
                <a:solidFill>
                  <a:schemeClr val="tx2"/>
                </a:solidFill>
                <a:latin typeface="+mj-lt"/>
              </a:rPr>
              <a:t>Guidelines:</a:t>
            </a:r>
          </a:p>
          <a:p>
            <a:pPr lvl="2">
              <a:lnSpc>
                <a:spcPct val="100000"/>
              </a:lnSpc>
              <a:spcBef>
                <a:spcPts val="600"/>
              </a:spcBef>
              <a:buFont typeface="Wingdings" panose="05000000000000000000" pitchFamily="2" charset="2"/>
              <a:buChar char="ü"/>
            </a:pPr>
            <a:r>
              <a:rPr lang="en-US" sz="1200" dirty="0">
                <a:solidFill>
                  <a:schemeClr val="tx2"/>
                </a:solidFill>
                <a:latin typeface="+mj-lt"/>
              </a:rPr>
              <a:t>Please do not use corporate logos from Amazon, Apple, major retailers, etc.</a:t>
            </a:r>
          </a:p>
          <a:p>
            <a:pPr lvl="2">
              <a:lnSpc>
                <a:spcPct val="100000"/>
              </a:lnSpc>
              <a:spcBef>
                <a:spcPts val="600"/>
              </a:spcBef>
              <a:buFont typeface="Wingdings" panose="05000000000000000000" pitchFamily="2" charset="2"/>
              <a:buChar char="ü"/>
            </a:pPr>
            <a:r>
              <a:rPr lang="en-US" sz="1200" dirty="0">
                <a:solidFill>
                  <a:schemeClr val="tx2"/>
                </a:solidFill>
                <a:latin typeface="+mj-lt"/>
              </a:rPr>
              <a:t>Please do not outwardly disparage any entity as a result of a cyber incident</a:t>
            </a:r>
          </a:p>
          <a:p>
            <a:pPr lvl="2">
              <a:lnSpc>
                <a:spcPct val="100000"/>
              </a:lnSpc>
              <a:spcBef>
                <a:spcPts val="600"/>
              </a:spcBef>
              <a:buFont typeface="Wingdings" panose="05000000000000000000" pitchFamily="2" charset="2"/>
              <a:buChar char="ü"/>
            </a:pPr>
            <a:r>
              <a:rPr lang="en-US" sz="1200" dirty="0">
                <a:solidFill>
                  <a:schemeClr val="tx2"/>
                </a:solidFill>
                <a:latin typeface="+mj-lt"/>
              </a:rPr>
              <a:t>Include Microsoft technology information where possible.</a:t>
            </a:r>
          </a:p>
          <a:p>
            <a:pPr lvl="1">
              <a:lnSpc>
                <a:spcPct val="100000"/>
              </a:lnSpc>
              <a:spcBef>
                <a:spcPts val="600"/>
              </a:spcBef>
            </a:pPr>
            <a:endParaRPr lang="en-US" sz="1200" dirty="0">
              <a:solidFill>
                <a:schemeClr val="tx2"/>
              </a:solidFill>
            </a:endParaRPr>
          </a:p>
          <a:p>
            <a:pPr marL="336145" lvl="1" indent="0" algn="ctr">
              <a:lnSpc>
                <a:spcPct val="100000"/>
              </a:lnSpc>
              <a:spcBef>
                <a:spcPts val="600"/>
              </a:spcBef>
              <a:buNone/>
            </a:pPr>
            <a:r>
              <a:rPr lang="en-US" sz="1200" b="1" dirty="0">
                <a:solidFill>
                  <a:schemeClr val="tx2"/>
                </a:solidFill>
              </a:rPr>
              <a:t>Presentation intended for 60 minutes with some Q&amp;A; please edit according to available time.</a:t>
            </a:r>
          </a:p>
          <a:p>
            <a:pPr lvl="1">
              <a:lnSpc>
                <a:spcPct val="100000"/>
              </a:lnSpc>
              <a:spcBef>
                <a:spcPts val="600"/>
              </a:spcBef>
            </a:pPr>
            <a:endParaRPr lang="en-US" sz="1200" dirty="0">
              <a:solidFill>
                <a:schemeClr val="tx2"/>
              </a:solidFill>
            </a:endParaRPr>
          </a:p>
        </p:txBody>
      </p:sp>
      <p:sp>
        <p:nvSpPr>
          <p:cNvPr id="2" name="Title 1"/>
          <p:cNvSpPr>
            <a:spLocks noGrp="1"/>
          </p:cNvSpPr>
          <p:nvPr>
            <p:ph type="title"/>
          </p:nvPr>
        </p:nvSpPr>
        <p:spPr/>
        <p:txBody>
          <a:bodyPr/>
          <a:lstStyle/>
          <a:p>
            <a:r>
              <a:rPr lang="en-US" b="1" dirty="0"/>
              <a:t>Notes to the Speaker</a:t>
            </a:r>
            <a:endParaRPr lang="en-US" dirty="0"/>
          </a:p>
        </p:txBody>
      </p:sp>
      <p:sp>
        <p:nvSpPr>
          <p:cNvPr id="4" name="Rectangle 4"/>
          <p:cNvSpPr/>
          <p:nvPr/>
        </p:nvSpPr>
        <p:spPr bwMode="auto">
          <a:xfrm>
            <a:off x="2832213" y="6302204"/>
            <a:ext cx="6829678" cy="265814"/>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3875599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bwMode="auto">
          <a:xfrm>
            <a:off x="0" y="1189176"/>
            <a:ext cx="12192000" cy="56688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sz="4800" dirty="0"/>
              <a:t>This is not an isolated problem</a:t>
            </a:r>
            <a:endParaRPr lang="en-US" dirty="0"/>
          </a:p>
        </p:txBody>
      </p:sp>
      <p:sp>
        <p:nvSpPr>
          <p:cNvPr id="15" name="Rectangle 14"/>
          <p:cNvSpPr/>
          <p:nvPr/>
        </p:nvSpPr>
        <p:spPr>
          <a:xfrm>
            <a:off x="6893706" y="1868308"/>
            <a:ext cx="2615427" cy="171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3600" b="1" dirty="0">
                <a:solidFill>
                  <a:schemeClr val="bg1"/>
                </a:solidFill>
                <a:latin typeface="Segoe UI" pitchFamily="34" charset="0"/>
                <a:ea typeface="Segoe UI" pitchFamily="34" charset="0"/>
                <a:cs typeface="Segoe UI" pitchFamily="34" charset="0"/>
              </a:rPr>
              <a:t>89% </a:t>
            </a:r>
          </a:p>
          <a:p>
            <a:pPr algn="ctr"/>
            <a:endParaRPr lang="en-US" sz="1400" b="1" dirty="0">
              <a:solidFill>
                <a:schemeClr val="bg1"/>
              </a:solidFill>
              <a:latin typeface="Segoe UI" pitchFamily="34" charset="0"/>
              <a:ea typeface="Segoe UI" pitchFamily="34" charset="0"/>
              <a:cs typeface="Segoe UI" pitchFamily="34" charset="0"/>
            </a:endParaRPr>
          </a:p>
          <a:p>
            <a:pPr algn="ctr"/>
            <a:r>
              <a:rPr lang="en-US" sz="1400" b="1" dirty="0">
                <a:solidFill>
                  <a:schemeClr val="bg1"/>
                </a:solidFill>
                <a:latin typeface="Segoe UI" pitchFamily="34" charset="0"/>
                <a:ea typeface="Segoe UI" pitchFamily="34" charset="0"/>
                <a:cs typeface="Segoe UI" pitchFamily="34" charset="0"/>
              </a:rPr>
              <a:t>of breaches had a financial or espionage motive</a:t>
            </a:r>
            <a:endParaRPr lang="en-US" sz="1400" b="1" baseline="30000" dirty="0">
              <a:solidFill>
                <a:schemeClr val="bg1"/>
              </a:solidFill>
              <a:latin typeface="Segoe UI" pitchFamily="34" charset="0"/>
              <a:ea typeface="Segoe UI" pitchFamily="34" charset="0"/>
              <a:cs typeface="Segoe UI" pitchFamily="34" charset="0"/>
            </a:endParaRPr>
          </a:p>
        </p:txBody>
      </p:sp>
      <p:sp>
        <p:nvSpPr>
          <p:cNvPr id="16" name="Rectangle 15"/>
          <p:cNvSpPr/>
          <p:nvPr/>
        </p:nvSpPr>
        <p:spPr>
          <a:xfrm>
            <a:off x="9734359" y="1868307"/>
            <a:ext cx="2055754" cy="24848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3600" b="1" dirty="0">
                <a:solidFill>
                  <a:schemeClr val="bg1"/>
                </a:solidFill>
                <a:latin typeface="Segoe UI" pitchFamily="34" charset="0"/>
                <a:ea typeface="Segoe UI" pitchFamily="34" charset="0"/>
                <a:cs typeface="Segoe UI" pitchFamily="34" charset="0"/>
              </a:rPr>
              <a:t>205 days</a:t>
            </a:r>
          </a:p>
          <a:p>
            <a:pPr algn="ctr"/>
            <a:endParaRPr lang="en-US" sz="1400" b="1" dirty="0">
              <a:solidFill>
                <a:schemeClr val="bg1"/>
              </a:solidFill>
              <a:latin typeface="Segoe UI" pitchFamily="34" charset="0"/>
              <a:ea typeface="Segoe UI" pitchFamily="34" charset="0"/>
              <a:cs typeface="Segoe UI" pitchFamily="34" charset="0"/>
            </a:endParaRPr>
          </a:p>
          <a:p>
            <a:pPr algn="ctr"/>
            <a:r>
              <a:rPr lang="en-US" sz="1400" b="1" dirty="0">
                <a:solidFill>
                  <a:schemeClr val="bg1"/>
                </a:solidFill>
                <a:latin typeface="Segoe UI" pitchFamily="34" charset="0"/>
                <a:ea typeface="Segoe UI" pitchFamily="34" charset="0"/>
                <a:cs typeface="Segoe UI" pitchFamily="34" charset="0"/>
              </a:rPr>
              <a:t>avg. days of malware before detection</a:t>
            </a:r>
            <a:endParaRPr lang="en-US" sz="1600" b="1" baseline="30000" dirty="0">
              <a:solidFill>
                <a:schemeClr val="bg1"/>
              </a:solidFill>
              <a:latin typeface="Segoe UI" pitchFamily="34" charset="0"/>
              <a:ea typeface="Segoe UI" pitchFamily="34" charset="0"/>
              <a:cs typeface="Segoe UI" pitchFamily="34" charset="0"/>
            </a:endParaRPr>
          </a:p>
        </p:txBody>
      </p:sp>
      <p:sp>
        <p:nvSpPr>
          <p:cNvPr id="17" name="Rectangle 16"/>
          <p:cNvSpPr/>
          <p:nvPr/>
        </p:nvSpPr>
        <p:spPr>
          <a:xfrm>
            <a:off x="6893707" y="3784081"/>
            <a:ext cx="2615427" cy="2430647"/>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3600" b="1" dirty="0">
                <a:solidFill>
                  <a:schemeClr val="bg1"/>
                </a:solidFill>
                <a:latin typeface="Segoe UI" pitchFamily="34" charset="0"/>
                <a:ea typeface="Segoe UI" pitchFamily="34" charset="0"/>
                <a:cs typeface="Segoe UI" pitchFamily="34" charset="0"/>
              </a:rPr>
              <a:t>20% </a:t>
            </a:r>
            <a:r>
              <a:rPr lang="en-US" sz="2400" b="1" dirty="0">
                <a:solidFill>
                  <a:schemeClr val="bg1"/>
                </a:solidFill>
                <a:latin typeface="Segoe UI Symbol" panose="020B0502040204020203" pitchFamily="34" charset="0"/>
                <a:ea typeface="Segoe UI Symbol" panose="020B0502040204020203" pitchFamily="34" charset="0"/>
                <a:cs typeface="Segoe UI" pitchFamily="34" charset="0"/>
              </a:rPr>
              <a:t>➜ </a:t>
            </a:r>
            <a:r>
              <a:rPr lang="en-US" sz="3600" b="1" dirty="0">
                <a:solidFill>
                  <a:schemeClr val="bg1"/>
                </a:solidFill>
                <a:latin typeface="Segoe UI" pitchFamily="34" charset="0"/>
                <a:ea typeface="Segoe UI" pitchFamily="34" charset="0"/>
                <a:cs typeface="Segoe UI" pitchFamily="34" charset="0"/>
              </a:rPr>
              <a:t>60%</a:t>
            </a:r>
          </a:p>
          <a:p>
            <a:pPr algn="ctr"/>
            <a:endParaRPr lang="en-US" sz="1200" b="1" dirty="0">
              <a:solidFill>
                <a:schemeClr val="bg1"/>
              </a:solidFill>
              <a:latin typeface="Segoe UI" pitchFamily="34" charset="0"/>
              <a:ea typeface="Segoe UI" pitchFamily="34" charset="0"/>
              <a:cs typeface="Segoe UI" pitchFamily="34" charset="0"/>
            </a:endParaRPr>
          </a:p>
          <a:p>
            <a:pPr algn="ctr"/>
            <a:r>
              <a:rPr lang="en-US" sz="1200" b="1" dirty="0">
                <a:solidFill>
                  <a:schemeClr val="bg1"/>
                </a:solidFill>
                <a:latin typeface="Segoe UI" pitchFamily="34" charset="0"/>
                <a:ea typeface="Segoe UI" pitchFamily="34" charset="0"/>
                <a:cs typeface="Segoe UI" pitchFamily="34" charset="0"/>
              </a:rPr>
              <a:t>By 2020, 60% of enterprise information security budgets will be allocated for rapid detection and response approaches, up from less than 20% in 2015</a:t>
            </a:r>
            <a:endParaRPr lang="en-US" sz="1200" b="1" baseline="30000" dirty="0">
              <a:solidFill>
                <a:schemeClr val="bg1"/>
              </a:solidFill>
              <a:latin typeface="Segoe UI" pitchFamily="34" charset="0"/>
              <a:ea typeface="Segoe UI" pitchFamily="34" charset="0"/>
              <a:cs typeface="Segoe UI" pitchFamily="34" charset="0"/>
            </a:endParaRPr>
          </a:p>
        </p:txBody>
      </p:sp>
      <p:sp>
        <p:nvSpPr>
          <p:cNvPr id="18" name="Rectangle 17"/>
          <p:cNvSpPr/>
          <p:nvPr/>
        </p:nvSpPr>
        <p:spPr>
          <a:xfrm>
            <a:off x="9734359" y="4609867"/>
            <a:ext cx="2055754" cy="160486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400" b="1" dirty="0">
                <a:solidFill>
                  <a:schemeClr val="bg1"/>
                </a:solidFill>
                <a:latin typeface="Segoe UI" pitchFamily="34" charset="0"/>
                <a:ea typeface="Segoe UI" pitchFamily="34" charset="0"/>
                <a:cs typeface="Segoe UI" pitchFamily="34" charset="0"/>
              </a:rPr>
              <a:t>Attacks occur across most industries regardless of company size</a:t>
            </a:r>
          </a:p>
        </p:txBody>
      </p:sp>
      <p:sp>
        <p:nvSpPr>
          <p:cNvPr id="3" name="Freeform 6"/>
          <p:cNvSpPr>
            <a:spLocks noChangeAspect="1" noEditPoints="1"/>
          </p:cNvSpPr>
          <p:nvPr/>
        </p:nvSpPr>
        <p:spPr bwMode="auto">
          <a:xfrm>
            <a:off x="539266" y="3110749"/>
            <a:ext cx="5815174" cy="2903508"/>
          </a:xfrm>
          <a:custGeom>
            <a:avLst/>
            <a:gdLst>
              <a:gd name="T0" fmla="*/ 1776 w 2020"/>
              <a:gd name="T1" fmla="*/ 1074 h 1182"/>
              <a:gd name="T2" fmla="*/ 1629 w 2020"/>
              <a:gd name="T3" fmla="*/ 1146 h 1182"/>
              <a:gd name="T4" fmla="*/ 1498 w 2020"/>
              <a:gd name="T5" fmla="*/ 1016 h 1182"/>
              <a:gd name="T6" fmla="*/ 1543 w 2020"/>
              <a:gd name="T7" fmla="*/ 901 h 1182"/>
              <a:gd name="T8" fmla="*/ 1585 w 2020"/>
              <a:gd name="T9" fmla="*/ 785 h 1182"/>
              <a:gd name="T10" fmla="*/ 1314 w 2020"/>
              <a:gd name="T11" fmla="*/ 756 h 1182"/>
              <a:gd name="T12" fmla="*/ 1061 w 2020"/>
              <a:gd name="T13" fmla="*/ 640 h 1182"/>
              <a:gd name="T14" fmla="*/ 1032 w 2020"/>
              <a:gd name="T15" fmla="*/ 525 h 1182"/>
              <a:gd name="T16" fmla="*/ 848 w 2020"/>
              <a:gd name="T17" fmla="*/ 409 h 1182"/>
              <a:gd name="T18" fmla="*/ 1553 w 2020"/>
              <a:gd name="T19" fmla="*/ 301 h 1182"/>
              <a:gd name="T20" fmla="*/ 1686 w 2020"/>
              <a:gd name="T21" fmla="*/ 185 h 1182"/>
              <a:gd name="T22" fmla="*/ 1237 w 2020"/>
              <a:gd name="T23" fmla="*/ 70 h 1182"/>
              <a:gd name="T24" fmla="*/ 749 w 2020"/>
              <a:gd name="T25" fmla="*/ 185 h 1182"/>
              <a:gd name="T26" fmla="*/ 721 w 2020"/>
              <a:gd name="T27" fmla="*/ 301 h 1182"/>
              <a:gd name="T28" fmla="*/ 366 w 2020"/>
              <a:gd name="T29" fmla="*/ 344 h 1182"/>
              <a:gd name="T30" fmla="*/ 237 w 2020"/>
              <a:gd name="T31" fmla="*/ 228 h 1182"/>
              <a:gd name="T32" fmla="*/ 318 w 2020"/>
              <a:gd name="T33" fmla="*/ 38 h 1182"/>
              <a:gd name="T34" fmla="*/ 353 w 2020"/>
              <a:gd name="T35" fmla="*/ 264 h 1182"/>
              <a:gd name="T36" fmla="*/ 497 w 2020"/>
              <a:gd name="T37" fmla="*/ 373 h 1182"/>
              <a:gd name="T38" fmla="*/ 180 w 2020"/>
              <a:gd name="T39" fmla="*/ 488 h 1182"/>
              <a:gd name="T40" fmla="*/ 190 w 2020"/>
              <a:gd name="T41" fmla="*/ 604 h 1182"/>
              <a:gd name="T42" fmla="*/ 273 w 2020"/>
              <a:gd name="T43" fmla="*/ 720 h 1182"/>
              <a:gd name="T44" fmla="*/ 377 w 2020"/>
              <a:gd name="T45" fmla="*/ 835 h 1182"/>
              <a:gd name="T46" fmla="*/ 446 w 2020"/>
              <a:gd name="T47" fmla="*/ 951 h 1182"/>
              <a:gd name="T48" fmla="*/ 443 w 2020"/>
              <a:gd name="T49" fmla="*/ 1066 h 1182"/>
              <a:gd name="T50" fmla="*/ 955 w 2020"/>
              <a:gd name="T51" fmla="*/ 1030 h 1182"/>
              <a:gd name="T52" fmla="*/ 912 w 2020"/>
              <a:gd name="T53" fmla="*/ 900 h 1182"/>
              <a:gd name="T54" fmla="*/ 898 w 2020"/>
              <a:gd name="T55" fmla="*/ 785 h 1182"/>
              <a:gd name="T56" fmla="*/ 755 w 2020"/>
              <a:gd name="T57" fmla="*/ 669 h 1182"/>
              <a:gd name="T58" fmla="*/ 798 w 2020"/>
              <a:gd name="T59" fmla="*/ 553 h 1182"/>
              <a:gd name="T60" fmla="*/ 761 w 2020"/>
              <a:gd name="T61" fmla="*/ 438 h 1182"/>
              <a:gd name="T62" fmla="*/ 1592 w 2020"/>
              <a:gd name="T63" fmla="*/ 388 h 1182"/>
              <a:gd name="T64" fmla="*/ 1553 w 2020"/>
              <a:gd name="T65" fmla="*/ 503 h 1182"/>
              <a:gd name="T66" fmla="*/ 1526 w 2020"/>
              <a:gd name="T67" fmla="*/ 619 h 1182"/>
              <a:gd name="T68" fmla="*/ 1454 w 2020"/>
              <a:gd name="T69" fmla="*/ 734 h 1182"/>
              <a:gd name="T70" fmla="*/ 1623 w 2020"/>
              <a:gd name="T71" fmla="*/ 792 h 1182"/>
              <a:gd name="T72" fmla="*/ 1681 w 2020"/>
              <a:gd name="T73" fmla="*/ 879 h 1182"/>
              <a:gd name="T74" fmla="*/ 1712 w 2020"/>
              <a:gd name="T75" fmla="*/ 995 h 1182"/>
              <a:gd name="T76" fmla="*/ 1658 w 2020"/>
              <a:gd name="T77" fmla="*/ 1110 h 1182"/>
              <a:gd name="T78" fmla="*/ 1824 w 2020"/>
              <a:gd name="T79" fmla="*/ 1081 h 1182"/>
              <a:gd name="T80" fmla="*/ 2020 w 2020"/>
              <a:gd name="T81" fmla="*/ 870 h 1182"/>
              <a:gd name="T82" fmla="*/ 969 w 2020"/>
              <a:gd name="T83" fmla="*/ 459 h 1182"/>
              <a:gd name="T84" fmla="*/ 860 w 2020"/>
              <a:gd name="T85" fmla="*/ 575 h 1182"/>
              <a:gd name="T86" fmla="*/ 1046 w 2020"/>
              <a:gd name="T87" fmla="*/ 691 h 1182"/>
              <a:gd name="T88" fmla="*/ 1049 w 2020"/>
              <a:gd name="T89" fmla="*/ 806 h 1182"/>
              <a:gd name="T90" fmla="*/ 1017 w 2020"/>
              <a:gd name="T91" fmla="*/ 922 h 1182"/>
              <a:gd name="T92" fmla="*/ 1017 w 2020"/>
              <a:gd name="T93" fmla="*/ 1066 h 1182"/>
              <a:gd name="T94" fmla="*/ 495 w 2020"/>
              <a:gd name="T95" fmla="*/ 1037 h 1182"/>
              <a:gd name="T96" fmla="*/ 593 w 2020"/>
              <a:gd name="T97" fmla="*/ 922 h 1182"/>
              <a:gd name="T98" fmla="*/ 529 w 2020"/>
              <a:gd name="T99" fmla="*/ 806 h 1182"/>
              <a:gd name="T100" fmla="*/ 276 w 2020"/>
              <a:gd name="T101" fmla="*/ 691 h 1182"/>
              <a:gd name="T102" fmla="*/ 381 w 2020"/>
              <a:gd name="T103" fmla="*/ 575 h 1182"/>
              <a:gd name="T104" fmla="*/ 518 w 2020"/>
              <a:gd name="T105" fmla="*/ 459 h 1182"/>
              <a:gd name="T106" fmla="*/ 601 w 2020"/>
              <a:gd name="T107" fmla="*/ 330 h 1182"/>
              <a:gd name="T108" fmla="*/ 581 w 2020"/>
              <a:gd name="T109" fmla="*/ 214 h 1182"/>
              <a:gd name="T110" fmla="*/ 622 w 2020"/>
              <a:gd name="T111" fmla="*/ 99 h 1182"/>
              <a:gd name="T112" fmla="*/ 1075 w 2020"/>
              <a:gd name="T113" fmla="*/ 156 h 1182"/>
              <a:gd name="T114" fmla="*/ 940 w 2020"/>
              <a:gd name="T115" fmla="*/ 272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20" h="1182">
                <a:moveTo>
                  <a:pt x="2001" y="851"/>
                </a:moveTo>
                <a:cubicBezTo>
                  <a:pt x="1990" y="851"/>
                  <a:pt x="1982" y="860"/>
                  <a:pt x="1982" y="870"/>
                </a:cubicBezTo>
                <a:cubicBezTo>
                  <a:pt x="1982" y="878"/>
                  <a:pt x="1987" y="885"/>
                  <a:pt x="1994" y="887"/>
                </a:cubicBezTo>
                <a:cubicBezTo>
                  <a:pt x="1988" y="947"/>
                  <a:pt x="1938" y="995"/>
                  <a:pt x="1876" y="995"/>
                </a:cubicBezTo>
                <a:cubicBezTo>
                  <a:pt x="1791" y="995"/>
                  <a:pt x="1791" y="995"/>
                  <a:pt x="1791" y="995"/>
                </a:cubicBezTo>
                <a:cubicBezTo>
                  <a:pt x="1779" y="995"/>
                  <a:pt x="1770" y="1004"/>
                  <a:pt x="1770" y="1016"/>
                </a:cubicBezTo>
                <a:cubicBezTo>
                  <a:pt x="1770" y="1028"/>
                  <a:pt x="1779" y="1038"/>
                  <a:pt x="1791" y="1038"/>
                </a:cubicBezTo>
                <a:cubicBezTo>
                  <a:pt x="1843" y="1038"/>
                  <a:pt x="1843" y="1038"/>
                  <a:pt x="1843" y="1038"/>
                </a:cubicBezTo>
                <a:cubicBezTo>
                  <a:pt x="1847" y="1038"/>
                  <a:pt x="1850" y="1041"/>
                  <a:pt x="1850" y="1045"/>
                </a:cubicBezTo>
                <a:cubicBezTo>
                  <a:pt x="1850" y="1049"/>
                  <a:pt x="1847" y="1052"/>
                  <a:pt x="1843" y="1052"/>
                </a:cubicBezTo>
                <a:cubicBezTo>
                  <a:pt x="1797" y="1052"/>
                  <a:pt x="1797" y="1052"/>
                  <a:pt x="1797" y="1052"/>
                </a:cubicBezTo>
                <a:cubicBezTo>
                  <a:pt x="1785" y="1052"/>
                  <a:pt x="1776" y="1062"/>
                  <a:pt x="1776" y="1074"/>
                </a:cubicBezTo>
                <a:cubicBezTo>
                  <a:pt x="1776" y="1086"/>
                  <a:pt x="1785" y="1096"/>
                  <a:pt x="1797" y="1096"/>
                </a:cubicBezTo>
                <a:cubicBezTo>
                  <a:pt x="1824" y="1096"/>
                  <a:pt x="1824" y="1096"/>
                  <a:pt x="1824" y="1096"/>
                </a:cubicBezTo>
                <a:cubicBezTo>
                  <a:pt x="1828" y="1096"/>
                  <a:pt x="1832" y="1099"/>
                  <a:pt x="1832" y="1103"/>
                </a:cubicBezTo>
                <a:cubicBezTo>
                  <a:pt x="1832" y="1107"/>
                  <a:pt x="1828" y="1110"/>
                  <a:pt x="1824" y="1110"/>
                </a:cubicBezTo>
                <a:cubicBezTo>
                  <a:pt x="1766" y="1110"/>
                  <a:pt x="1766" y="1110"/>
                  <a:pt x="1766" y="1110"/>
                </a:cubicBezTo>
                <a:cubicBezTo>
                  <a:pt x="1754" y="1110"/>
                  <a:pt x="1744" y="1120"/>
                  <a:pt x="1744" y="1132"/>
                </a:cubicBezTo>
                <a:cubicBezTo>
                  <a:pt x="1744" y="1144"/>
                  <a:pt x="1754" y="1153"/>
                  <a:pt x="1766" y="1153"/>
                </a:cubicBezTo>
                <a:cubicBezTo>
                  <a:pt x="1789" y="1153"/>
                  <a:pt x="1789" y="1153"/>
                  <a:pt x="1789" y="1153"/>
                </a:cubicBezTo>
                <a:cubicBezTo>
                  <a:pt x="1793" y="1153"/>
                  <a:pt x="1797" y="1157"/>
                  <a:pt x="1797" y="1161"/>
                </a:cubicBezTo>
                <a:cubicBezTo>
                  <a:pt x="1797" y="1165"/>
                  <a:pt x="1793" y="1168"/>
                  <a:pt x="1789" y="1168"/>
                </a:cubicBezTo>
                <a:cubicBezTo>
                  <a:pt x="1650" y="1168"/>
                  <a:pt x="1650" y="1168"/>
                  <a:pt x="1650" y="1168"/>
                </a:cubicBezTo>
                <a:cubicBezTo>
                  <a:pt x="1638" y="1168"/>
                  <a:pt x="1629" y="1158"/>
                  <a:pt x="1629" y="1146"/>
                </a:cubicBezTo>
                <a:cubicBezTo>
                  <a:pt x="1629" y="1134"/>
                  <a:pt x="1638" y="1125"/>
                  <a:pt x="1650" y="1125"/>
                </a:cubicBezTo>
                <a:cubicBezTo>
                  <a:pt x="1658" y="1125"/>
                  <a:pt x="1658" y="1125"/>
                  <a:pt x="1658" y="1125"/>
                </a:cubicBezTo>
                <a:cubicBezTo>
                  <a:pt x="1670" y="1125"/>
                  <a:pt x="1680" y="1115"/>
                  <a:pt x="1680" y="1103"/>
                </a:cubicBezTo>
                <a:cubicBezTo>
                  <a:pt x="1680" y="1091"/>
                  <a:pt x="1670" y="1081"/>
                  <a:pt x="1658" y="1081"/>
                </a:cubicBezTo>
                <a:cubicBezTo>
                  <a:pt x="1635" y="1081"/>
                  <a:pt x="1635" y="1081"/>
                  <a:pt x="1635" y="1081"/>
                </a:cubicBezTo>
                <a:cubicBezTo>
                  <a:pt x="1631" y="1081"/>
                  <a:pt x="1628" y="1078"/>
                  <a:pt x="1628" y="1074"/>
                </a:cubicBezTo>
                <a:cubicBezTo>
                  <a:pt x="1628" y="1070"/>
                  <a:pt x="1631" y="1067"/>
                  <a:pt x="1635" y="1067"/>
                </a:cubicBezTo>
                <a:cubicBezTo>
                  <a:pt x="1693" y="1067"/>
                  <a:pt x="1693" y="1067"/>
                  <a:pt x="1693" y="1067"/>
                </a:cubicBezTo>
                <a:cubicBezTo>
                  <a:pt x="1705" y="1067"/>
                  <a:pt x="1715" y="1057"/>
                  <a:pt x="1715" y="1045"/>
                </a:cubicBezTo>
                <a:cubicBezTo>
                  <a:pt x="1715" y="1033"/>
                  <a:pt x="1705" y="1024"/>
                  <a:pt x="1693" y="1024"/>
                </a:cubicBezTo>
                <a:cubicBezTo>
                  <a:pt x="1505" y="1024"/>
                  <a:pt x="1505" y="1024"/>
                  <a:pt x="1505" y="1024"/>
                </a:cubicBezTo>
                <a:cubicBezTo>
                  <a:pt x="1501" y="1024"/>
                  <a:pt x="1498" y="1020"/>
                  <a:pt x="1498" y="1016"/>
                </a:cubicBezTo>
                <a:cubicBezTo>
                  <a:pt x="1498" y="1012"/>
                  <a:pt x="1501" y="1009"/>
                  <a:pt x="1505" y="1009"/>
                </a:cubicBezTo>
                <a:cubicBezTo>
                  <a:pt x="1712" y="1009"/>
                  <a:pt x="1712" y="1009"/>
                  <a:pt x="1712" y="1009"/>
                </a:cubicBezTo>
                <a:cubicBezTo>
                  <a:pt x="1724" y="1009"/>
                  <a:pt x="1733" y="999"/>
                  <a:pt x="1733" y="987"/>
                </a:cubicBezTo>
                <a:cubicBezTo>
                  <a:pt x="1733" y="975"/>
                  <a:pt x="1724" y="966"/>
                  <a:pt x="1712" y="966"/>
                </a:cubicBezTo>
                <a:cubicBezTo>
                  <a:pt x="1504" y="966"/>
                  <a:pt x="1504" y="966"/>
                  <a:pt x="1504" y="966"/>
                </a:cubicBezTo>
                <a:cubicBezTo>
                  <a:pt x="1500" y="966"/>
                  <a:pt x="1496" y="962"/>
                  <a:pt x="1496" y="958"/>
                </a:cubicBezTo>
                <a:cubicBezTo>
                  <a:pt x="1496" y="954"/>
                  <a:pt x="1500" y="951"/>
                  <a:pt x="1504" y="951"/>
                </a:cubicBezTo>
                <a:cubicBezTo>
                  <a:pt x="1697" y="951"/>
                  <a:pt x="1697" y="951"/>
                  <a:pt x="1697" y="951"/>
                </a:cubicBezTo>
                <a:cubicBezTo>
                  <a:pt x="1709" y="951"/>
                  <a:pt x="1718" y="941"/>
                  <a:pt x="1718" y="929"/>
                </a:cubicBezTo>
                <a:cubicBezTo>
                  <a:pt x="1718" y="918"/>
                  <a:pt x="1709" y="908"/>
                  <a:pt x="1697" y="908"/>
                </a:cubicBezTo>
                <a:cubicBezTo>
                  <a:pt x="1550" y="908"/>
                  <a:pt x="1550" y="908"/>
                  <a:pt x="1550" y="908"/>
                </a:cubicBezTo>
                <a:cubicBezTo>
                  <a:pt x="1546" y="908"/>
                  <a:pt x="1543" y="905"/>
                  <a:pt x="1543" y="901"/>
                </a:cubicBezTo>
                <a:cubicBezTo>
                  <a:pt x="1543" y="897"/>
                  <a:pt x="1546" y="893"/>
                  <a:pt x="1550" y="893"/>
                </a:cubicBezTo>
                <a:cubicBezTo>
                  <a:pt x="1681" y="893"/>
                  <a:pt x="1681" y="893"/>
                  <a:pt x="1681" y="893"/>
                </a:cubicBezTo>
                <a:cubicBezTo>
                  <a:pt x="1701" y="893"/>
                  <a:pt x="1718" y="877"/>
                  <a:pt x="1718" y="857"/>
                </a:cubicBezTo>
                <a:cubicBezTo>
                  <a:pt x="1718" y="837"/>
                  <a:pt x="1701" y="821"/>
                  <a:pt x="1681" y="821"/>
                </a:cubicBezTo>
                <a:cubicBezTo>
                  <a:pt x="1673" y="821"/>
                  <a:pt x="1673" y="821"/>
                  <a:pt x="1673" y="821"/>
                </a:cubicBezTo>
                <a:cubicBezTo>
                  <a:pt x="1669" y="821"/>
                  <a:pt x="1666" y="818"/>
                  <a:pt x="1666" y="814"/>
                </a:cubicBezTo>
                <a:cubicBezTo>
                  <a:pt x="1666" y="810"/>
                  <a:pt x="1669" y="807"/>
                  <a:pt x="1673" y="807"/>
                </a:cubicBezTo>
                <a:cubicBezTo>
                  <a:pt x="1683" y="807"/>
                  <a:pt x="1683" y="807"/>
                  <a:pt x="1683" y="807"/>
                </a:cubicBezTo>
                <a:cubicBezTo>
                  <a:pt x="1694" y="807"/>
                  <a:pt x="1704" y="797"/>
                  <a:pt x="1704" y="785"/>
                </a:cubicBezTo>
                <a:cubicBezTo>
                  <a:pt x="1704" y="773"/>
                  <a:pt x="1694" y="763"/>
                  <a:pt x="1683" y="763"/>
                </a:cubicBezTo>
                <a:cubicBezTo>
                  <a:pt x="1607" y="763"/>
                  <a:pt x="1607" y="763"/>
                  <a:pt x="1607" y="763"/>
                </a:cubicBezTo>
                <a:cubicBezTo>
                  <a:pt x="1595" y="763"/>
                  <a:pt x="1585" y="773"/>
                  <a:pt x="1585" y="785"/>
                </a:cubicBezTo>
                <a:cubicBezTo>
                  <a:pt x="1585" y="797"/>
                  <a:pt x="1595" y="807"/>
                  <a:pt x="1607" y="807"/>
                </a:cubicBezTo>
                <a:cubicBezTo>
                  <a:pt x="1623" y="807"/>
                  <a:pt x="1623" y="807"/>
                  <a:pt x="1623" y="807"/>
                </a:cubicBezTo>
                <a:cubicBezTo>
                  <a:pt x="1627" y="807"/>
                  <a:pt x="1631" y="810"/>
                  <a:pt x="1631" y="814"/>
                </a:cubicBezTo>
                <a:cubicBezTo>
                  <a:pt x="1631" y="818"/>
                  <a:pt x="1627" y="821"/>
                  <a:pt x="1623" y="821"/>
                </a:cubicBezTo>
                <a:cubicBezTo>
                  <a:pt x="1455" y="821"/>
                  <a:pt x="1455" y="821"/>
                  <a:pt x="1455" y="821"/>
                </a:cubicBezTo>
                <a:cubicBezTo>
                  <a:pt x="1451" y="821"/>
                  <a:pt x="1448" y="818"/>
                  <a:pt x="1448" y="814"/>
                </a:cubicBezTo>
                <a:cubicBezTo>
                  <a:pt x="1448" y="810"/>
                  <a:pt x="1451" y="807"/>
                  <a:pt x="1455" y="807"/>
                </a:cubicBezTo>
                <a:cubicBezTo>
                  <a:pt x="1549" y="807"/>
                  <a:pt x="1549" y="807"/>
                  <a:pt x="1549" y="807"/>
                </a:cubicBezTo>
                <a:cubicBezTo>
                  <a:pt x="1561" y="807"/>
                  <a:pt x="1571" y="797"/>
                  <a:pt x="1571" y="785"/>
                </a:cubicBezTo>
                <a:cubicBezTo>
                  <a:pt x="1571" y="773"/>
                  <a:pt x="1561" y="763"/>
                  <a:pt x="1549" y="763"/>
                </a:cubicBezTo>
                <a:cubicBezTo>
                  <a:pt x="1321" y="763"/>
                  <a:pt x="1321" y="763"/>
                  <a:pt x="1321" y="763"/>
                </a:cubicBezTo>
                <a:cubicBezTo>
                  <a:pt x="1317" y="763"/>
                  <a:pt x="1314" y="760"/>
                  <a:pt x="1314" y="756"/>
                </a:cubicBezTo>
                <a:cubicBezTo>
                  <a:pt x="1314" y="752"/>
                  <a:pt x="1317" y="749"/>
                  <a:pt x="1321" y="749"/>
                </a:cubicBezTo>
                <a:cubicBezTo>
                  <a:pt x="1454" y="749"/>
                  <a:pt x="1454" y="749"/>
                  <a:pt x="1454" y="749"/>
                </a:cubicBezTo>
                <a:cubicBezTo>
                  <a:pt x="1466" y="749"/>
                  <a:pt x="1475" y="739"/>
                  <a:pt x="1475" y="727"/>
                </a:cubicBezTo>
                <a:cubicBezTo>
                  <a:pt x="1475" y="715"/>
                  <a:pt x="1466" y="706"/>
                  <a:pt x="1454" y="706"/>
                </a:cubicBezTo>
                <a:cubicBezTo>
                  <a:pt x="1287" y="706"/>
                  <a:pt x="1287" y="706"/>
                  <a:pt x="1287" y="706"/>
                </a:cubicBezTo>
                <a:cubicBezTo>
                  <a:pt x="1283" y="706"/>
                  <a:pt x="1280" y="702"/>
                  <a:pt x="1280" y="698"/>
                </a:cubicBezTo>
                <a:cubicBezTo>
                  <a:pt x="1280" y="694"/>
                  <a:pt x="1283" y="691"/>
                  <a:pt x="1287" y="691"/>
                </a:cubicBezTo>
                <a:cubicBezTo>
                  <a:pt x="1436" y="691"/>
                  <a:pt x="1436" y="691"/>
                  <a:pt x="1436" y="691"/>
                </a:cubicBezTo>
                <a:cubicBezTo>
                  <a:pt x="1448" y="691"/>
                  <a:pt x="1458" y="681"/>
                  <a:pt x="1458" y="669"/>
                </a:cubicBezTo>
                <a:cubicBezTo>
                  <a:pt x="1458" y="657"/>
                  <a:pt x="1448" y="648"/>
                  <a:pt x="1436" y="648"/>
                </a:cubicBezTo>
                <a:cubicBezTo>
                  <a:pt x="1068" y="648"/>
                  <a:pt x="1068" y="648"/>
                  <a:pt x="1068" y="648"/>
                </a:cubicBezTo>
                <a:cubicBezTo>
                  <a:pt x="1064" y="648"/>
                  <a:pt x="1061" y="644"/>
                  <a:pt x="1061" y="640"/>
                </a:cubicBezTo>
                <a:cubicBezTo>
                  <a:pt x="1061" y="636"/>
                  <a:pt x="1064" y="633"/>
                  <a:pt x="1068" y="633"/>
                </a:cubicBezTo>
                <a:cubicBezTo>
                  <a:pt x="1526" y="633"/>
                  <a:pt x="1526" y="633"/>
                  <a:pt x="1526" y="633"/>
                </a:cubicBezTo>
                <a:cubicBezTo>
                  <a:pt x="1538" y="633"/>
                  <a:pt x="1548" y="623"/>
                  <a:pt x="1548" y="612"/>
                </a:cubicBezTo>
                <a:cubicBezTo>
                  <a:pt x="1548" y="600"/>
                  <a:pt x="1538" y="590"/>
                  <a:pt x="1526" y="590"/>
                </a:cubicBezTo>
                <a:cubicBezTo>
                  <a:pt x="1019" y="590"/>
                  <a:pt x="1019" y="590"/>
                  <a:pt x="1019" y="590"/>
                </a:cubicBezTo>
                <a:cubicBezTo>
                  <a:pt x="1015" y="590"/>
                  <a:pt x="1012" y="587"/>
                  <a:pt x="1012" y="583"/>
                </a:cubicBezTo>
                <a:cubicBezTo>
                  <a:pt x="1012" y="579"/>
                  <a:pt x="1015" y="575"/>
                  <a:pt x="1019" y="575"/>
                </a:cubicBezTo>
                <a:cubicBezTo>
                  <a:pt x="1528" y="575"/>
                  <a:pt x="1528" y="575"/>
                  <a:pt x="1528" y="575"/>
                </a:cubicBezTo>
                <a:cubicBezTo>
                  <a:pt x="1540" y="575"/>
                  <a:pt x="1550" y="566"/>
                  <a:pt x="1550" y="554"/>
                </a:cubicBezTo>
                <a:cubicBezTo>
                  <a:pt x="1550" y="542"/>
                  <a:pt x="1540" y="532"/>
                  <a:pt x="1528" y="532"/>
                </a:cubicBezTo>
                <a:cubicBezTo>
                  <a:pt x="1039" y="532"/>
                  <a:pt x="1039" y="532"/>
                  <a:pt x="1039" y="532"/>
                </a:cubicBezTo>
                <a:cubicBezTo>
                  <a:pt x="1035" y="532"/>
                  <a:pt x="1032" y="529"/>
                  <a:pt x="1032" y="525"/>
                </a:cubicBezTo>
                <a:cubicBezTo>
                  <a:pt x="1032" y="521"/>
                  <a:pt x="1035" y="518"/>
                  <a:pt x="1039" y="518"/>
                </a:cubicBezTo>
                <a:cubicBezTo>
                  <a:pt x="1553" y="518"/>
                  <a:pt x="1553" y="518"/>
                  <a:pt x="1553" y="518"/>
                </a:cubicBezTo>
                <a:cubicBezTo>
                  <a:pt x="1564" y="518"/>
                  <a:pt x="1574" y="508"/>
                  <a:pt x="1574" y="496"/>
                </a:cubicBezTo>
                <a:cubicBezTo>
                  <a:pt x="1574" y="484"/>
                  <a:pt x="1564" y="474"/>
                  <a:pt x="1553" y="474"/>
                </a:cubicBezTo>
                <a:cubicBezTo>
                  <a:pt x="1039" y="474"/>
                  <a:pt x="1039" y="474"/>
                  <a:pt x="1039" y="474"/>
                </a:cubicBezTo>
                <a:cubicBezTo>
                  <a:pt x="1035" y="474"/>
                  <a:pt x="1032" y="471"/>
                  <a:pt x="1032" y="467"/>
                </a:cubicBezTo>
                <a:cubicBezTo>
                  <a:pt x="1032" y="463"/>
                  <a:pt x="1035" y="460"/>
                  <a:pt x="1039" y="460"/>
                </a:cubicBezTo>
                <a:cubicBezTo>
                  <a:pt x="1592" y="460"/>
                  <a:pt x="1592" y="460"/>
                  <a:pt x="1592" y="460"/>
                </a:cubicBezTo>
                <a:cubicBezTo>
                  <a:pt x="1603" y="460"/>
                  <a:pt x="1613" y="450"/>
                  <a:pt x="1613" y="438"/>
                </a:cubicBezTo>
                <a:cubicBezTo>
                  <a:pt x="1613" y="426"/>
                  <a:pt x="1603" y="416"/>
                  <a:pt x="1592" y="416"/>
                </a:cubicBezTo>
                <a:cubicBezTo>
                  <a:pt x="855" y="416"/>
                  <a:pt x="855" y="416"/>
                  <a:pt x="855" y="416"/>
                </a:cubicBezTo>
                <a:cubicBezTo>
                  <a:pt x="851" y="416"/>
                  <a:pt x="848" y="413"/>
                  <a:pt x="848" y="409"/>
                </a:cubicBezTo>
                <a:cubicBezTo>
                  <a:pt x="848" y="405"/>
                  <a:pt x="851" y="402"/>
                  <a:pt x="855" y="402"/>
                </a:cubicBezTo>
                <a:cubicBezTo>
                  <a:pt x="1592" y="402"/>
                  <a:pt x="1592" y="402"/>
                  <a:pt x="1592" y="402"/>
                </a:cubicBezTo>
                <a:cubicBezTo>
                  <a:pt x="1603" y="402"/>
                  <a:pt x="1613" y="392"/>
                  <a:pt x="1613" y="380"/>
                </a:cubicBezTo>
                <a:cubicBezTo>
                  <a:pt x="1613" y="368"/>
                  <a:pt x="1603" y="359"/>
                  <a:pt x="1592" y="359"/>
                </a:cubicBezTo>
                <a:cubicBezTo>
                  <a:pt x="902" y="359"/>
                  <a:pt x="902" y="359"/>
                  <a:pt x="902" y="359"/>
                </a:cubicBezTo>
                <a:cubicBezTo>
                  <a:pt x="902" y="358"/>
                  <a:pt x="902" y="358"/>
                  <a:pt x="902" y="358"/>
                </a:cubicBezTo>
                <a:cubicBezTo>
                  <a:pt x="886" y="358"/>
                  <a:pt x="886" y="358"/>
                  <a:pt x="886" y="358"/>
                </a:cubicBezTo>
                <a:cubicBezTo>
                  <a:pt x="883" y="357"/>
                  <a:pt x="881" y="355"/>
                  <a:pt x="881" y="351"/>
                </a:cubicBezTo>
                <a:cubicBezTo>
                  <a:pt x="881" y="347"/>
                  <a:pt x="884" y="344"/>
                  <a:pt x="888" y="344"/>
                </a:cubicBezTo>
                <a:cubicBezTo>
                  <a:pt x="1553" y="344"/>
                  <a:pt x="1553" y="344"/>
                  <a:pt x="1553" y="344"/>
                </a:cubicBezTo>
                <a:cubicBezTo>
                  <a:pt x="1565" y="344"/>
                  <a:pt x="1575" y="334"/>
                  <a:pt x="1575" y="322"/>
                </a:cubicBezTo>
                <a:cubicBezTo>
                  <a:pt x="1575" y="311"/>
                  <a:pt x="1565" y="301"/>
                  <a:pt x="1553" y="301"/>
                </a:cubicBezTo>
                <a:cubicBezTo>
                  <a:pt x="940" y="301"/>
                  <a:pt x="940" y="301"/>
                  <a:pt x="940" y="301"/>
                </a:cubicBezTo>
                <a:cubicBezTo>
                  <a:pt x="936" y="301"/>
                  <a:pt x="933" y="298"/>
                  <a:pt x="933" y="294"/>
                </a:cubicBezTo>
                <a:cubicBezTo>
                  <a:pt x="933" y="290"/>
                  <a:pt x="936" y="286"/>
                  <a:pt x="940" y="286"/>
                </a:cubicBezTo>
                <a:cubicBezTo>
                  <a:pt x="1683" y="286"/>
                  <a:pt x="1683" y="286"/>
                  <a:pt x="1683" y="286"/>
                </a:cubicBezTo>
                <a:cubicBezTo>
                  <a:pt x="1695" y="286"/>
                  <a:pt x="1705" y="277"/>
                  <a:pt x="1705" y="265"/>
                </a:cubicBezTo>
                <a:cubicBezTo>
                  <a:pt x="1705" y="253"/>
                  <a:pt x="1695" y="243"/>
                  <a:pt x="1683" y="243"/>
                </a:cubicBezTo>
                <a:cubicBezTo>
                  <a:pt x="1145" y="243"/>
                  <a:pt x="1145" y="243"/>
                  <a:pt x="1145" y="243"/>
                </a:cubicBezTo>
                <a:cubicBezTo>
                  <a:pt x="1141" y="243"/>
                  <a:pt x="1137" y="240"/>
                  <a:pt x="1137" y="236"/>
                </a:cubicBezTo>
                <a:cubicBezTo>
                  <a:pt x="1137" y="232"/>
                  <a:pt x="1141" y="228"/>
                  <a:pt x="1145" y="228"/>
                </a:cubicBezTo>
                <a:cubicBezTo>
                  <a:pt x="1686" y="228"/>
                  <a:pt x="1686" y="228"/>
                  <a:pt x="1686" y="228"/>
                </a:cubicBezTo>
                <a:cubicBezTo>
                  <a:pt x="1698" y="228"/>
                  <a:pt x="1708" y="219"/>
                  <a:pt x="1708" y="207"/>
                </a:cubicBezTo>
                <a:cubicBezTo>
                  <a:pt x="1708" y="195"/>
                  <a:pt x="1698" y="185"/>
                  <a:pt x="1686" y="185"/>
                </a:cubicBezTo>
                <a:cubicBezTo>
                  <a:pt x="1075" y="185"/>
                  <a:pt x="1075" y="185"/>
                  <a:pt x="1075" y="185"/>
                </a:cubicBezTo>
                <a:cubicBezTo>
                  <a:pt x="1071" y="185"/>
                  <a:pt x="1068" y="182"/>
                  <a:pt x="1068" y="178"/>
                </a:cubicBezTo>
                <a:cubicBezTo>
                  <a:pt x="1068" y="174"/>
                  <a:pt x="1071" y="171"/>
                  <a:pt x="1075" y="171"/>
                </a:cubicBezTo>
                <a:cubicBezTo>
                  <a:pt x="1693" y="171"/>
                  <a:pt x="1693" y="171"/>
                  <a:pt x="1693" y="171"/>
                </a:cubicBezTo>
                <a:cubicBezTo>
                  <a:pt x="1705" y="171"/>
                  <a:pt x="1715" y="161"/>
                  <a:pt x="1715" y="149"/>
                </a:cubicBezTo>
                <a:cubicBezTo>
                  <a:pt x="1715" y="137"/>
                  <a:pt x="1705" y="127"/>
                  <a:pt x="1693" y="127"/>
                </a:cubicBezTo>
                <a:cubicBezTo>
                  <a:pt x="1225" y="127"/>
                  <a:pt x="1225" y="127"/>
                  <a:pt x="1225" y="127"/>
                </a:cubicBezTo>
                <a:cubicBezTo>
                  <a:pt x="1221" y="127"/>
                  <a:pt x="1218" y="124"/>
                  <a:pt x="1218" y="120"/>
                </a:cubicBezTo>
                <a:cubicBezTo>
                  <a:pt x="1218" y="116"/>
                  <a:pt x="1221" y="113"/>
                  <a:pt x="1225" y="113"/>
                </a:cubicBezTo>
                <a:cubicBezTo>
                  <a:pt x="1237" y="113"/>
                  <a:pt x="1237" y="113"/>
                  <a:pt x="1237" y="113"/>
                </a:cubicBezTo>
                <a:cubicBezTo>
                  <a:pt x="1249" y="113"/>
                  <a:pt x="1258" y="103"/>
                  <a:pt x="1258" y="91"/>
                </a:cubicBezTo>
                <a:cubicBezTo>
                  <a:pt x="1258" y="79"/>
                  <a:pt x="1249" y="70"/>
                  <a:pt x="1237" y="70"/>
                </a:cubicBezTo>
                <a:cubicBezTo>
                  <a:pt x="622" y="70"/>
                  <a:pt x="622" y="70"/>
                  <a:pt x="622" y="70"/>
                </a:cubicBezTo>
                <a:cubicBezTo>
                  <a:pt x="610" y="70"/>
                  <a:pt x="600" y="79"/>
                  <a:pt x="600" y="91"/>
                </a:cubicBezTo>
                <a:cubicBezTo>
                  <a:pt x="600" y="103"/>
                  <a:pt x="610" y="113"/>
                  <a:pt x="622" y="113"/>
                </a:cubicBezTo>
                <a:cubicBezTo>
                  <a:pt x="754" y="113"/>
                  <a:pt x="754" y="113"/>
                  <a:pt x="754" y="113"/>
                </a:cubicBezTo>
                <a:cubicBezTo>
                  <a:pt x="758" y="113"/>
                  <a:pt x="762" y="116"/>
                  <a:pt x="762" y="120"/>
                </a:cubicBezTo>
                <a:cubicBezTo>
                  <a:pt x="762" y="124"/>
                  <a:pt x="758" y="127"/>
                  <a:pt x="754" y="127"/>
                </a:cubicBezTo>
                <a:cubicBezTo>
                  <a:pt x="561" y="127"/>
                  <a:pt x="561" y="127"/>
                  <a:pt x="561" y="127"/>
                </a:cubicBezTo>
                <a:cubicBezTo>
                  <a:pt x="549" y="127"/>
                  <a:pt x="540" y="137"/>
                  <a:pt x="540" y="149"/>
                </a:cubicBezTo>
                <a:cubicBezTo>
                  <a:pt x="540" y="161"/>
                  <a:pt x="549" y="171"/>
                  <a:pt x="561" y="171"/>
                </a:cubicBezTo>
                <a:cubicBezTo>
                  <a:pt x="749" y="171"/>
                  <a:pt x="749" y="171"/>
                  <a:pt x="749" y="171"/>
                </a:cubicBezTo>
                <a:cubicBezTo>
                  <a:pt x="753" y="171"/>
                  <a:pt x="756" y="174"/>
                  <a:pt x="756" y="178"/>
                </a:cubicBezTo>
                <a:cubicBezTo>
                  <a:pt x="756" y="182"/>
                  <a:pt x="753" y="185"/>
                  <a:pt x="749" y="185"/>
                </a:cubicBezTo>
                <a:cubicBezTo>
                  <a:pt x="581" y="185"/>
                  <a:pt x="581" y="185"/>
                  <a:pt x="581" y="185"/>
                </a:cubicBezTo>
                <a:cubicBezTo>
                  <a:pt x="569" y="185"/>
                  <a:pt x="559" y="195"/>
                  <a:pt x="559" y="207"/>
                </a:cubicBezTo>
                <a:cubicBezTo>
                  <a:pt x="559" y="219"/>
                  <a:pt x="569" y="228"/>
                  <a:pt x="581" y="228"/>
                </a:cubicBezTo>
                <a:cubicBezTo>
                  <a:pt x="734" y="228"/>
                  <a:pt x="734" y="228"/>
                  <a:pt x="734" y="228"/>
                </a:cubicBezTo>
                <a:cubicBezTo>
                  <a:pt x="738" y="228"/>
                  <a:pt x="741" y="232"/>
                  <a:pt x="741" y="236"/>
                </a:cubicBezTo>
                <a:cubicBezTo>
                  <a:pt x="741" y="240"/>
                  <a:pt x="738" y="243"/>
                  <a:pt x="734" y="243"/>
                </a:cubicBezTo>
                <a:cubicBezTo>
                  <a:pt x="600" y="243"/>
                  <a:pt x="600" y="243"/>
                  <a:pt x="600" y="243"/>
                </a:cubicBezTo>
                <a:cubicBezTo>
                  <a:pt x="588" y="243"/>
                  <a:pt x="579" y="253"/>
                  <a:pt x="579" y="265"/>
                </a:cubicBezTo>
                <a:cubicBezTo>
                  <a:pt x="579" y="277"/>
                  <a:pt x="588" y="286"/>
                  <a:pt x="600" y="286"/>
                </a:cubicBezTo>
                <a:cubicBezTo>
                  <a:pt x="721" y="286"/>
                  <a:pt x="721" y="286"/>
                  <a:pt x="721" y="286"/>
                </a:cubicBezTo>
                <a:cubicBezTo>
                  <a:pt x="725" y="286"/>
                  <a:pt x="728" y="290"/>
                  <a:pt x="728" y="294"/>
                </a:cubicBezTo>
                <a:cubicBezTo>
                  <a:pt x="728" y="298"/>
                  <a:pt x="725" y="301"/>
                  <a:pt x="721" y="301"/>
                </a:cubicBezTo>
                <a:cubicBezTo>
                  <a:pt x="601" y="301"/>
                  <a:pt x="601" y="301"/>
                  <a:pt x="601" y="301"/>
                </a:cubicBezTo>
                <a:cubicBezTo>
                  <a:pt x="590" y="301"/>
                  <a:pt x="580" y="311"/>
                  <a:pt x="580" y="322"/>
                </a:cubicBezTo>
                <a:cubicBezTo>
                  <a:pt x="580" y="334"/>
                  <a:pt x="590" y="344"/>
                  <a:pt x="601" y="344"/>
                </a:cubicBezTo>
                <a:cubicBezTo>
                  <a:pt x="625" y="344"/>
                  <a:pt x="625" y="344"/>
                  <a:pt x="625" y="344"/>
                </a:cubicBezTo>
                <a:cubicBezTo>
                  <a:pt x="629" y="344"/>
                  <a:pt x="632" y="347"/>
                  <a:pt x="632" y="351"/>
                </a:cubicBezTo>
                <a:cubicBezTo>
                  <a:pt x="632" y="355"/>
                  <a:pt x="629" y="359"/>
                  <a:pt x="625" y="359"/>
                </a:cubicBezTo>
                <a:cubicBezTo>
                  <a:pt x="526" y="359"/>
                  <a:pt x="526" y="359"/>
                  <a:pt x="526" y="359"/>
                </a:cubicBezTo>
                <a:cubicBezTo>
                  <a:pt x="525" y="358"/>
                  <a:pt x="523" y="358"/>
                  <a:pt x="522" y="358"/>
                </a:cubicBezTo>
                <a:cubicBezTo>
                  <a:pt x="157" y="358"/>
                  <a:pt x="157" y="358"/>
                  <a:pt x="157" y="358"/>
                </a:cubicBezTo>
                <a:cubicBezTo>
                  <a:pt x="153" y="358"/>
                  <a:pt x="149" y="355"/>
                  <a:pt x="149" y="351"/>
                </a:cubicBezTo>
                <a:cubicBezTo>
                  <a:pt x="149" y="347"/>
                  <a:pt x="153" y="344"/>
                  <a:pt x="157" y="344"/>
                </a:cubicBezTo>
                <a:cubicBezTo>
                  <a:pt x="366" y="344"/>
                  <a:pt x="366" y="344"/>
                  <a:pt x="366" y="344"/>
                </a:cubicBezTo>
                <a:cubicBezTo>
                  <a:pt x="378" y="344"/>
                  <a:pt x="388" y="334"/>
                  <a:pt x="388" y="322"/>
                </a:cubicBezTo>
                <a:cubicBezTo>
                  <a:pt x="388" y="310"/>
                  <a:pt x="378" y="301"/>
                  <a:pt x="366" y="301"/>
                </a:cubicBezTo>
                <a:cubicBezTo>
                  <a:pt x="22" y="301"/>
                  <a:pt x="22" y="301"/>
                  <a:pt x="22" y="301"/>
                </a:cubicBezTo>
                <a:cubicBezTo>
                  <a:pt x="18" y="301"/>
                  <a:pt x="15" y="297"/>
                  <a:pt x="15" y="293"/>
                </a:cubicBezTo>
                <a:cubicBezTo>
                  <a:pt x="15" y="289"/>
                  <a:pt x="18" y="286"/>
                  <a:pt x="22" y="286"/>
                </a:cubicBezTo>
                <a:cubicBezTo>
                  <a:pt x="346" y="286"/>
                  <a:pt x="346" y="286"/>
                  <a:pt x="346" y="286"/>
                </a:cubicBezTo>
                <a:cubicBezTo>
                  <a:pt x="358" y="286"/>
                  <a:pt x="367" y="276"/>
                  <a:pt x="367" y="264"/>
                </a:cubicBezTo>
                <a:cubicBezTo>
                  <a:pt x="367" y="252"/>
                  <a:pt x="358" y="243"/>
                  <a:pt x="346" y="243"/>
                </a:cubicBezTo>
                <a:cubicBezTo>
                  <a:pt x="59" y="243"/>
                  <a:pt x="59" y="243"/>
                  <a:pt x="59" y="243"/>
                </a:cubicBezTo>
                <a:cubicBezTo>
                  <a:pt x="55" y="243"/>
                  <a:pt x="52" y="239"/>
                  <a:pt x="52" y="235"/>
                </a:cubicBezTo>
                <a:cubicBezTo>
                  <a:pt x="52" y="231"/>
                  <a:pt x="55" y="228"/>
                  <a:pt x="59" y="228"/>
                </a:cubicBezTo>
                <a:cubicBezTo>
                  <a:pt x="237" y="228"/>
                  <a:pt x="237" y="228"/>
                  <a:pt x="237" y="228"/>
                </a:cubicBezTo>
                <a:cubicBezTo>
                  <a:pt x="249" y="228"/>
                  <a:pt x="258" y="218"/>
                  <a:pt x="258" y="207"/>
                </a:cubicBezTo>
                <a:cubicBezTo>
                  <a:pt x="258" y="195"/>
                  <a:pt x="249" y="185"/>
                  <a:pt x="237" y="185"/>
                </a:cubicBezTo>
                <a:cubicBezTo>
                  <a:pt x="72" y="185"/>
                  <a:pt x="72" y="185"/>
                  <a:pt x="72" y="185"/>
                </a:cubicBezTo>
                <a:cubicBezTo>
                  <a:pt x="68" y="185"/>
                  <a:pt x="64" y="182"/>
                  <a:pt x="64" y="178"/>
                </a:cubicBezTo>
                <a:cubicBezTo>
                  <a:pt x="64" y="174"/>
                  <a:pt x="68" y="170"/>
                  <a:pt x="72" y="170"/>
                </a:cubicBezTo>
                <a:cubicBezTo>
                  <a:pt x="200" y="170"/>
                  <a:pt x="200" y="170"/>
                  <a:pt x="200" y="170"/>
                </a:cubicBezTo>
                <a:cubicBezTo>
                  <a:pt x="273" y="170"/>
                  <a:pt x="333" y="111"/>
                  <a:pt x="333" y="38"/>
                </a:cubicBezTo>
                <a:cubicBezTo>
                  <a:pt x="344" y="38"/>
                  <a:pt x="344" y="38"/>
                  <a:pt x="344" y="38"/>
                </a:cubicBezTo>
                <a:cubicBezTo>
                  <a:pt x="344" y="0"/>
                  <a:pt x="344" y="0"/>
                  <a:pt x="344" y="0"/>
                </a:cubicBezTo>
                <a:cubicBezTo>
                  <a:pt x="306" y="0"/>
                  <a:pt x="306" y="0"/>
                  <a:pt x="306" y="0"/>
                </a:cubicBezTo>
                <a:cubicBezTo>
                  <a:pt x="306" y="38"/>
                  <a:pt x="306" y="38"/>
                  <a:pt x="306" y="38"/>
                </a:cubicBezTo>
                <a:cubicBezTo>
                  <a:pt x="318" y="38"/>
                  <a:pt x="318" y="38"/>
                  <a:pt x="318" y="38"/>
                </a:cubicBezTo>
                <a:cubicBezTo>
                  <a:pt x="318" y="103"/>
                  <a:pt x="265" y="156"/>
                  <a:pt x="200" y="156"/>
                </a:cubicBezTo>
                <a:cubicBezTo>
                  <a:pt x="72" y="156"/>
                  <a:pt x="72" y="156"/>
                  <a:pt x="72" y="156"/>
                </a:cubicBezTo>
                <a:cubicBezTo>
                  <a:pt x="60" y="156"/>
                  <a:pt x="50" y="166"/>
                  <a:pt x="50" y="178"/>
                </a:cubicBezTo>
                <a:cubicBezTo>
                  <a:pt x="50" y="190"/>
                  <a:pt x="60" y="199"/>
                  <a:pt x="72" y="199"/>
                </a:cubicBezTo>
                <a:cubicBezTo>
                  <a:pt x="237" y="199"/>
                  <a:pt x="237" y="199"/>
                  <a:pt x="237" y="199"/>
                </a:cubicBezTo>
                <a:cubicBezTo>
                  <a:pt x="241" y="199"/>
                  <a:pt x="244" y="202"/>
                  <a:pt x="244" y="207"/>
                </a:cubicBezTo>
                <a:cubicBezTo>
                  <a:pt x="244" y="211"/>
                  <a:pt x="241" y="214"/>
                  <a:pt x="237" y="214"/>
                </a:cubicBezTo>
                <a:cubicBezTo>
                  <a:pt x="59" y="214"/>
                  <a:pt x="59" y="214"/>
                  <a:pt x="59" y="214"/>
                </a:cubicBezTo>
                <a:cubicBezTo>
                  <a:pt x="47" y="214"/>
                  <a:pt x="37" y="224"/>
                  <a:pt x="37" y="235"/>
                </a:cubicBezTo>
                <a:cubicBezTo>
                  <a:pt x="37" y="247"/>
                  <a:pt x="47" y="257"/>
                  <a:pt x="59" y="257"/>
                </a:cubicBezTo>
                <a:cubicBezTo>
                  <a:pt x="346" y="257"/>
                  <a:pt x="346" y="257"/>
                  <a:pt x="346" y="257"/>
                </a:cubicBezTo>
                <a:cubicBezTo>
                  <a:pt x="350" y="257"/>
                  <a:pt x="353" y="260"/>
                  <a:pt x="353" y="264"/>
                </a:cubicBezTo>
                <a:cubicBezTo>
                  <a:pt x="353" y="268"/>
                  <a:pt x="350" y="272"/>
                  <a:pt x="346" y="272"/>
                </a:cubicBezTo>
                <a:cubicBezTo>
                  <a:pt x="22" y="272"/>
                  <a:pt x="22" y="272"/>
                  <a:pt x="22" y="272"/>
                </a:cubicBezTo>
                <a:cubicBezTo>
                  <a:pt x="10" y="272"/>
                  <a:pt x="0" y="281"/>
                  <a:pt x="0" y="293"/>
                </a:cubicBezTo>
                <a:cubicBezTo>
                  <a:pt x="0" y="305"/>
                  <a:pt x="10" y="315"/>
                  <a:pt x="22" y="315"/>
                </a:cubicBezTo>
                <a:cubicBezTo>
                  <a:pt x="366" y="315"/>
                  <a:pt x="366" y="315"/>
                  <a:pt x="366" y="315"/>
                </a:cubicBezTo>
                <a:cubicBezTo>
                  <a:pt x="370" y="315"/>
                  <a:pt x="374" y="318"/>
                  <a:pt x="374" y="322"/>
                </a:cubicBezTo>
                <a:cubicBezTo>
                  <a:pt x="374" y="326"/>
                  <a:pt x="370" y="329"/>
                  <a:pt x="366" y="329"/>
                </a:cubicBezTo>
                <a:cubicBezTo>
                  <a:pt x="157" y="329"/>
                  <a:pt x="157" y="329"/>
                  <a:pt x="157" y="329"/>
                </a:cubicBezTo>
                <a:cubicBezTo>
                  <a:pt x="145" y="329"/>
                  <a:pt x="135" y="339"/>
                  <a:pt x="135" y="351"/>
                </a:cubicBezTo>
                <a:cubicBezTo>
                  <a:pt x="135" y="363"/>
                  <a:pt x="145" y="373"/>
                  <a:pt x="157" y="373"/>
                </a:cubicBezTo>
                <a:cubicBezTo>
                  <a:pt x="497" y="373"/>
                  <a:pt x="497" y="373"/>
                  <a:pt x="497" y="373"/>
                </a:cubicBezTo>
                <a:cubicBezTo>
                  <a:pt x="497" y="373"/>
                  <a:pt x="497" y="373"/>
                  <a:pt x="497" y="373"/>
                </a:cubicBezTo>
                <a:cubicBezTo>
                  <a:pt x="524" y="373"/>
                  <a:pt x="524" y="373"/>
                  <a:pt x="524" y="373"/>
                </a:cubicBezTo>
                <a:cubicBezTo>
                  <a:pt x="527" y="374"/>
                  <a:pt x="530" y="377"/>
                  <a:pt x="530" y="380"/>
                </a:cubicBezTo>
                <a:cubicBezTo>
                  <a:pt x="530" y="384"/>
                  <a:pt x="526" y="387"/>
                  <a:pt x="522" y="387"/>
                </a:cubicBezTo>
                <a:cubicBezTo>
                  <a:pt x="164" y="387"/>
                  <a:pt x="164" y="387"/>
                  <a:pt x="164" y="387"/>
                </a:cubicBezTo>
                <a:cubicBezTo>
                  <a:pt x="152" y="387"/>
                  <a:pt x="142" y="397"/>
                  <a:pt x="142" y="409"/>
                </a:cubicBezTo>
                <a:cubicBezTo>
                  <a:pt x="142" y="421"/>
                  <a:pt x="152" y="430"/>
                  <a:pt x="164" y="430"/>
                </a:cubicBezTo>
                <a:cubicBezTo>
                  <a:pt x="518" y="430"/>
                  <a:pt x="518" y="430"/>
                  <a:pt x="518" y="430"/>
                </a:cubicBezTo>
                <a:cubicBezTo>
                  <a:pt x="522" y="430"/>
                  <a:pt x="525" y="434"/>
                  <a:pt x="525" y="438"/>
                </a:cubicBezTo>
                <a:cubicBezTo>
                  <a:pt x="525" y="442"/>
                  <a:pt x="522" y="445"/>
                  <a:pt x="518" y="445"/>
                </a:cubicBezTo>
                <a:cubicBezTo>
                  <a:pt x="180" y="445"/>
                  <a:pt x="180" y="445"/>
                  <a:pt x="180" y="445"/>
                </a:cubicBezTo>
                <a:cubicBezTo>
                  <a:pt x="168" y="445"/>
                  <a:pt x="158" y="455"/>
                  <a:pt x="158" y="467"/>
                </a:cubicBezTo>
                <a:cubicBezTo>
                  <a:pt x="158" y="479"/>
                  <a:pt x="168" y="488"/>
                  <a:pt x="180" y="488"/>
                </a:cubicBezTo>
                <a:cubicBezTo>
                  <a:pt x="433" y="488"/>
                  <a:pt x="433" y="488"/>
                  <a:pt x="433" y="488"/>
                </a:cubicBezTo>
                <a:cubicBezTo>
                  <a:pt x="437" y="488"/>
                  <a:pt x="440" y="492"/>
                  <a:pt x="440" y="496"/>
                </a:cubicBezTo>
                <a:cubicBezTo>
                  <a:pt x="440" y="500"/>
                  <a:pt x="437" y="503"/>
                  <a:pt x="433" y="503"/>
                </a:cubicBezTo>
                <a:cubicBezTo>
                  <a:pt x="162" y="503"/>
                  <a:pt x="162" y="503"/>
                  <a:pt x="162" y="503"/>
                </a:cubicBezTo>
                <a:cubicBezTo>
                  <a:pt x="150" y="503"/>
                  <a:pt x="140" y="513"/>
                  <a:pt x="140" y="524"/>
                </a:cubicBezTo>
                <a:cubicBezTo>
                  <a:pt x="140" y="536"/>
                  <a:pt x="150" y="546"/>
                  <a:pt x="162" y="546"/>
                </a:cubicBezTo>
                <a:cubicBezTo>
                  <a:pt x="381" y="546"/>
                  <a:pt x="381" y="546"/>
                  <a:pt x="381" y="546"/>
                </a:cubicBezTo>
                <a:cubicBezTo>
                  <a:pt x="385" y="546"/>
                  <a:pt x="388" y="549"/>
                  <a:pt x="388" y="553"/>
                </a:cubicBezTo>
                <a:cubicBezTo>
                  <a:pt x="388" y="557"/>
                  <a:pt x="385" y="561"/>
                  <a:pt x="381" y="561"/>
                </a:cubicBezTo>
                <a:cubicBezTo>
                  <a:pt x="190" y="561"/>
                  <a:pt x="190" y="561"/>
                  <a:pt x="190" y="561"/>
                </a:cubicBezTo>
                <a:cubicBezTo>
                  <a:pt x="178" y="561"/>
                  <a:pt x="168" y="570"/>
                  <a:pt x="168" y="582"/>
                </a:cubicBezTo>
                <a:cubicBezTo>
                  <a:pt x="168" y="594"/>
                  <a:pt x="178" y="604"/>
                  <a:pt x="190" y="604"/>
                </a:cubicBezTo>
                <a:cubicBezTo>
                  <a:pt x="266" y="604"/>
                  <a:pt x="266" y="604"/>
                  <a:pt x="266" y="604"/>
                </a:cubicBezTo>
                <a:cubicBezTo>
                  <a:pt x="270" y="604"/>
                  <a:pt x="273" y="607"/>
                  <a:pt x="273" y="611"/>
                </a:cubicBezTo>
                <a:cubicBezTo>
                  <a:pt x="273" y="615"/>
                  <a:pt x="270" y="619"/>
                  <a:pt x="266" y="619"/>
                </a:cubicBezTo>
                <a:cubicBezTo>
                  <a:pt x="236" y="619"/>
                  <a:pt x="236" y="619"/>
                  <a:pt x="236" y="619"/>
                </a:cubicBezTo>
                <a:cubicBezTo>
                  <a:pt x="224" y="619"/>
                  <a:pt x="215" y="628"/>
                  <a:pt x="215" y="640"/>
                </a:cubicBezTo>
                <a:cubicBezTo>
                  <a:pt x="215" y="652"/>
                  <a:pt x="224" y="662"/>
                  <a:pt x="236" y="662"/>
                </a:cubicBezTo>
                <a:cubicBezTo>
                  <a:pt x="276" y="662"/>
                  <a:pt x="276" y="662"/>
                  <a:pt x="276" y="662"/>
                </a:cubicBezTo>
                <a:cubicBezTo>
                  <a:pt x="280" y="662"/>
                  <a:pt x="283" y="665"/>
                  <a:pt x="283" y="669"/>
                </a:cubicBezTo>
                <a:cubicBezTo>
                  <a:pt x="283" y="673"/>
                  <a:pt x="280" y="676"/>
                  <a:pt x="276" y="676"/>
                </a:cubicBezTo>
                <a:cubicBezTo>
                  <a:pt x="273" y="676"/>
                  <a:pt x="273" y="676"/>
                  <a:pt x="273" y="676"/>
                </a:cubicBezTo>
                <a:cubicBezTo>
                  <a:pt x="261" y="676"/>
                  <a:pt x="252" y="686"/>
                  <a:pt x="252" y="698"/>
                </a:cubicBezTo>
                <a:cubicBezTo>
                  <a:pt x="252" y="710"/>
                  <a:pt x="261" y="720"/>
                  <a:pt x="273" y="720"/>
                </a:cubicBezTo>
                <a:cubicBezTo>
                  <a:pt x="353" y="720"/>
                  <a:pt x="353" y="720"/>
                  <a:pt x="353" y="720"/>
                </a:cubicBezTo>
                <a:cubicBezTo>
                  <a:pt x="357" y="720"/>
                  <a:pt x="360" y="723"/>
                  <a:pt x="360" y="727"/>
                </a:cubicBezTo>
                <a:cubicBezTo>
                  <a:pt x="360" y="731"/>
                  <a:pt x="357" y="734"/>
                  <a:pt x="353" y="734"/>
                </a:cubicBezTo>
                <a:cubicBezTo>
                  <a:pt x="337" y="734"/>
                  <a:pt x="337" y="734"/>
                  <a:pt x="337" y="734"/>
                </a:cubicBezTo>
                <a:cubicBezTo>
                  <a:pt x="325" y="734"/>
                  <a:pt x="316" y="744"/>
                  <a:pt x="316" y="756"/>
                </a:cubicBezTo>
                <a:cubicBezTo>
                  <a:pt x="316" y="768"/>
                  <a:pt x="325" y="777"/>
                  <a:pt x="337" y="777"/>
                </a:cubicBezTo>
                <a:cubicBezTo>
                  <a:pt x="529" y="777"/>
                  <a:pt x="529" y="777"/>
                  <a:pt x="529" y="777"/>
                </a:cubicBezTo>
                <a:cubicBezTo>
                  <a:pt x="533" y="777"/>
                  <a:pt x="537" y="781"/>
                  <a:pt x="537" y="785"/>
                </a:cubicBezTo>
                <a:cubicBezTo>
                  <a:pt x="537" y="789"/>
                  <a:pt x="533" y="792"/>
                  <a:pt x="529" y="792"/>
                </a:cubicBezTo>
                <a:cubicBezTo>
                  <a:pt x="377" y="792"/>
                  <a:pt x="377" y="792"/>
                  <a:pt x="377" y="792"/>
                </a:cubicBezTo>
                <a:cubicBezTo>
                  <a:pt x="365" y="792"/>
                  <a:pt x="356" y="802"/>
                  <a:pt x="356" y="814"/>
                </a:cubicBezTo>
                <a:cubicBezTo>
                  <a:pt x="356" y="825"/>
                  <a:pt x="365" y="835"/>
                  <a:pt x="377" y="835"/>
                </a:cubicBezTo>
                <a:cubicBezTo>
                  <a:pt x="607" y="835"/>
                  <a:pt x="607" y="835"/>
                  <a:pt x="607" y="835"/>
                </a:cubicBezTo>
                <a:cubicBezTo>
                  <a:pt x="611" y="835"/>
                  <a:pt x="615" y="838"/>
                  <a:pt x="615" y="842"/>
                </a:cubicBezTo>
                <a:cubicBezTo>
                  <a:pt x="615" y="846"/>
                  <a:pt x="611" y="850"/>
                  <a:pt x="607" y="850"/>
                </a:cubicBezTo>
                <a:cubicBezTo>
                  <a:pt x="417" y="850"/>
                  <a:pt x="417" y="850"/>
                  <a:pt x="417" y="850"/>
                </a:cubicBezTo>
                <a:cubicBezTo>
                  <a:pt x="405" y="850"/>
                  <a:pt x="396" y="859"/>
                  <a:pt x="396" y="871"/>
                </a:cubicBezTo>
                <a:cubicBezTo>
                  <a:pt x="396" y="883"/>
                  <a:pt x="405" y="893"/>
                  <a:pt x="417" y="893"/>
                </a:cubicBezTo>
                <a:cubicBezTo>
                  <a:pt x="593" y="893"/>
                  <a:pt x="593" y="893"/>
                  <a:pt x="593" y="893"/>
                </a:cubicBezTo>
                <a:cubicBezTo>
                  <a:pt x="597" y="893"/>
                  <a:pt x="600" y="896"/>
                  <a:pt x="600" y="900"/>
                </a:cubicBezTo>
                <a:cubicBezTo>
                  <a:pt x="600" y="904"/>
                  <a:pt x="597" y="908"/>
                  <a:pt x="593" y="908"/>
                </a:cubicBezTo>
                <a:cubicBezTo>
                  <a:pt x="446" y="908"/>
                  <a:pt x="446" y="908"/>
                  <a:pt x="446" y="908"/>
                </a:cubicBezTo>
                <a:cubicBezTo>
                  <a:pt x="434" y="908"/>
                  <a:pt x="425" y="917"/>
                  <a:pt x="425" y="929"/>
                </a:cubicBezTo>
                <a:cubicBezTo>
                  <a:pt x="425" y="941"/>
                  <a:pt x="434" y="951"/>
                  <a:pt x="446" y="951"/>
                </a:cubicBezTo>
                <a:cubicBezTo>
                  <a:pt x="551" y="951"/>
                  <a:pt x="551" y="951"/>
                  <a:pt x="551" y="951"/>
                </a:cubicBezTo>
                <a:cubicBezTo>
                  <a:pt x="555" y="951"/>
                  <a:pt x="558" y="954"/>
                  <a:pt x="558" y="958"/>
                </a:cubicBezTo>
                <a:cubicBezTo>
                  <a:pt x="558" y="962"/>
                  <a:pt x="555" y="965"/>
                  <a:pt x="551" y="965"/>
                </a:cubicBezTo>
                <a:cubicBezTo>
                  <a:pt x="438" y="965"/>
                  <a:pt x="438" y="965"/>
                  <a:pt x="438" y="965"/>
                </a:cubicBezTo>
                <a:cubicBezTo>
                  <a:pt x="426" y="965"/>
                  <a:pt x="417" y="975"/>
                  <a:pt x="417" y="987"/>
                </a:cubicBezTo>
                <a:cubicBezTo>
                  <a:pt x="417" y="999"/>
                  <a:pt x="426" y="1009"/>
                  <a:pt x="438" y="1009"/>
                </a:cubicBezTo>
                <a:cubicBezTo>
                  <a:pt x="495" y="1009"/>
                  <a:pt x="495" y="1009"/>
                  <a:pt x="495" y="1009"/>
                </a:cubicBezTo>
                <a:cubicBezTo>
                  <a:pt x="499" y="1009"/>
                  <a:pt x="502" y="1012"/>
                  <a:pt x="502" y="1016"/>
                </a:cubicBezTo>
                <a:cubicBezTo>
                  <a:pt x="502" y="1020"/>
                  <a:pt x="499" y="1023"/>
                  <a:pt x="495" y="1023"/>
                </a:cubicBezTo>
                <a:cubicBezTo>
                  <a:pt x="443" y="1023"/>
                  <a:pt x="443" y="1023"/>
                  <a:pt x="443" y="1023"/>
                </a:cubicBezTo>
                <a:cubicBezTo>
                  <a:pt x="431" y="1023"/>
                  <a:pt x="422" y="1033"/>
                  <a:pt x="422" y="1045"/>
                </a:cubicBezTo>
                <a:cubicBezTo>
                  <a:pt x="422" y="1057"/>
                  <a:pt x="431" y="1066"/>
                  <a:pt x="443" y="1066"/>
                </a:cubicBezTo>
                <a:cubicBezTo>
                  <a:pt x="472" y="1066"/>
                  <a:pt x="472" y="1066"/>
                  <a:pt x="472" y="1066"/>
                </a:cubicBezTo>
                <a:cubicBezTo>
                  <a:pt x="476" y="1066"/>
                  <a:pt x="479" y="1070"/>
                  <a:pt x="479" y="1074"/>
                </a:cubicBezTo>
                <a:cubicBezTo>
                  <a:pt x="479" y="1078"/>
                  <a:pt x="476" y="1081"/>
                  <a:pt x="472" y="1081"/>
                </a:cubicBezTo>
                <a:cubicBezTo>
                  <a:pt x="443" y="1081"/>
                  <a:pt x="443" y="1081"/>
                  <a:pt x="443" y="1081"/>
                </a:cubicBezTo>
                <a:cubicBezTo>
                  <a:pt x="431" y="1081"/>
                  <a:pt x="422" y="1091"/>
                  <a:pt x="422" y="1103"/>
                </a:cubicBezTo>
                <a:cubicBezTo>
                  <a:pt x="422" y="1115"/>
                  <a:pt x="431" y="1124"/>
                  <a:pt x="443" y="1124"/>
                </a:cubicBezTo>
                <a:cubicBezTo>
                  <a:pt x="462" y="1124"/>
                  <a:pt x="462" y="1124"/>
                  <a:pt x="462" y="1124"/>
                </a:cubicBezTo>
                <a:cubicBezTo>
                  <a:pt x="1017" y="1124"/>
                  <a:pt x="1017" y="1124"/>
                  <a:pt x="1017" y="1124"/>
                </a:cubicBezTo>
                <a:cubicBezTo>
                  <a:pt x="1037" y="1124"/>
                  <a:pt x="1053" y="1108"/>
                  <a:pt x="1053" y="1088"/>
                </a:cubicBezTo>
                <a:cubicBezTo>
                  <a:pt x="1053" y="1068"/>
                  <a:pt x="1037" y="1052"/>
                  <a:pt x="1017" y="1052"/>
                </a:cubicBezTo>
                <a:cubicBezTo>
                  <a:pt x="976" y="1052"/>
                  <a:pt x="976" y="1052"/>
                  <a:pt x="976" y="1052"/>
                </a:cubicBezTo>
                <a:cubicBezTo>
                  <a:pt x="964" y="1052"/>
                  <a:pt x="955" y="1042"/>
                  <a:pt x="955" y="1030"/>
                </a:cubicBezTo>
                <a:cubicBezTo>
                  <a:pt x="955" y="1018"/>
                  <a:pt x="964" y="1009"/>
                  <a:pt x="976" y="1009"/>
                </a:cubicBezTo>
                <a:cubicBezTo>
                  <a:pt x="979" y="1009"/>
                  <a:pt x="979" y="1009"/>
                  <a:pt x="979" y="1009"/>
                </a:cubicBezTo>
                <a:cubicBezTo>
                  <a:pt x="990" y="1009"/>
                  <a:pt x="1000" y="999"/>
                  <a:pt x="1000" y="987"/>
                </a:cubicBezTo>
                <a:cubicBezTo>
                  <a:pt x="1000" y="975"/>
                  <a:pt x="990" y="965"/>
                  <a:pt x="979" y="965"/>
                </a:cubicBezTo>
                <a:cubicBezTo>
                  <a:pt x="941" y="965"/>
                  <a:pt x="941" y="965"/>
                  <a:pt x="941" y="965"/>
                </a:cubicBezTo>
                <a:cubicBezTo>
                  <a:pt x="937" y="965"/>
                  <a:pt x="933" y="962"/>
                  <a:pt x="933" y="958"/>
                </a:cubicBezTo>
                <a:cubicBezTo>
                  <a:pt x="933" y="954"/>
                  <a:pt x="937" y="951"/>
                  <a:pt x="941" y="951"/>
                </a:cubicBezTo>
                <a:cubicBezTo>
                  <a:pt x="1017" y="951"/>
                  <a:pt x="1017" y="951"/>
                  <a:pt x="1017" y="951"/>
                </a:cubicBezTo>
                <a:cubicBezTo>
                  <a:pt x="1029" y="951"/>
                  <a:pt x="1039" y="941"/>
                  <a:pt x="1039" y="929"/>
                </a:cubicBezTo>
                <a:cubicBezTo>
                  <a:pt x="1039" y="917"/>
                  <a:pt x="1029" y="908"/>
                  <a:pt x="1017" y="908"/>
                </a:cubicBezTo>
                <a:cubicBezTo>
                  <a:pt x="919" y="908"/>
                  <a:pt x="919" y="908"/>
                  <a:pt x="919" y="908"/>
                </a:cubicBezTo>
                <a:cubicBezTo>
                  <a:pt x="915" y="908"/>
                  <a:pt x="912" y="904"/>
                  <a:pt x="912" y="900"/>
                </a:cubicBezTo>
                <a:cubicBezTo>
                  <a:pt x="912" y="896"/>
                  <a:pt x="915" y="893"/>
                  <a:pt x="919" y="893"/>
                </a:cubicBezTo>
                <a:cubicBezTo>
                  <a:pt x="1053" y="893"/>
                  <a:pt x="1053" y="893"/>
                  <a:pt x="1053" y="893"/>
                </a:cubicBezTo>
                <a:cubicBezTo>
                  <a:pt x="1065" y="893"/>
                  <a:pt x="1075" y="883"/>
                  <a:pt x="1075" y="871"/>
                </a:cubicBezTo>
                <a:cubicBezTo>
                  <a:pt x="1075" y="859"/>
                  <a:pt x="1065" y="850"/>
                  <a:pt x="1053" y="850"/>
                </a:cubicBezTo>
                <a:cubicBezTo>
                  <a:pt x="914" y="850"/>
                  <a:pt x="914" y="850"/>
                  <a:pt x="914" y="850"/>
                </a:cubicBezTo>
                <a:cubicBezTo>
                  <a:pt x="910" y="850"/>
                  <a:pt x="906" y="846"/>
                  <a:pt x="906" y="842"/>
                </a:cubicBezTo>
                <a:cubicBezTo>
                  <a:pt x="906" y="838"/>
                  <a:pt x="910" y="835"/>
                  <a:pt x="914" y="835"/>
                </a:cubicBezTo>
                <a:cubicBezTo>
                  <a:pt x="1049" y="835"/>
                  <a:pt x="1049" y="835"/>
                  <a:pt x="1049" y="835"/>
                </a:cubicBezTo>
                <a:cubicBezTo>
                  <a:pt x="1061" y="835"/>
                  <a:pt x="1071" y="825"/>
                  <a:pt x="1071" y="814"/>
                </a:cubicBezTo>
                <a:cubicBezTo>
                  <a:pt x="1071" y="802"/>
                  <a:pt x="1061" y="792"/>
                  <a:pt x="1049" y="792"/>
                </a:cubicBezTo>
                <a:cubicBezTo>
                  <a:pt x="905" y="792"/>
                  <a:pt x="905" y="792"/>
                  <a:pt x="905" y="792"/>
                </a:cubicBezTo>
                <a:cubicBezTo>
                  <a:pt x="901" y="792"/>
                  <a:pt x="898" y="789"/>
                  <a:pt x="898" y="785"/>
                </a:cubicBezTo>
                <a:cubicBezTo>
                  <a:pt x="898" y="781"/>
                  <a:pt x="901" y="777"/>
                  <a:pt x="905" y="777"/>
                </a:cubicBezTo>
                <a:cubicBezTo>
                  <a:pt x="1104" y="777"/>
                  <a:pt x="1104" y="777"/>
                  <a:pt x="1104" y="777"/>
                </a:cubicBezTo>
                <a:cubicBezTo>
                  <a:pt x="1116" y="777"/>
                  <a:pt x="1125" y="768"/>
                  <a:pt x="1125" y="756"/>
                </a:cubicBezTo>
                <a:cubicBezTo>
                  <a:pt x="1125" y="744"/>
                  <a:pt x="1116" y="734"/>
                  <a:pt x="1104" y="734"/>
                </a:cubicBezTo>
                <a:cubicBezTo>
                  <a:pt x="791" y="734"/>
                  <a:pt x="791" y="734"/>
                  <a:pt x="791" y="734"/>
                </a:cubicBezTo>
                <a:cubicBezTo>
                  <a:pt x="787" y="734"/>
                  <a:pt x="784" y="731"/>
                  <a:pt x="784" y="727"/>
                </a:cubicBezTo>
                <a:cubicBezTo>
                  <a:pt x="784" y="723"/>
                  <a:pt x="787" y="720"/>
                  <a:pt x="791" y="720"/>
                </a:cubicBezTo>
                <a:cubicBezTo>
                  <a:pt x="1046" y="720"/>
                  <a:pt x="1046" y="720"/>
                  <a:pt x="1046" y="720"/>
                </a:cubicBezTo>
                <a:cubicBezTo>
                  <a:pt x="1058" y="720"/>
                  <a:pt x="1068" y="710"/>
                  <a:pt x="1068" y="698"/>
                </a:cubicBezTo>
                <a:cubicBezTo>
                  <a:pt x="1068" y="686"/>
                  <a:pt x="1058" y="676"/>
                  <a:pt x="1046" y="676"/>
                </a:cubicBezTo>
                <a:cubicBezTo>
                  <a:pt x="763" y="676"/>
                  <a:pt x="763" y="676"/>
                  <a:pt x="763" y="676"/>
                </a:cubicBezTo>
                <a:cubicBezTo>
                  <a:pt x="759" y="676"/>
                  <a:pt x="755" y="673"/>
                  <a:pt x="755" y="669"/>
                </a:cubicBezTo>
                <a:cubicBezTo>
                  <a:pt x="755" y="665"/>
                  <a:pt x="759" y="662"/>
                  <a:pt x="763" y="662"/>
                </a:cubicBezTo>
                <a:cubicBezTo>
                  <a:pt x="1011" y="662"/>
                  <a:pt x="1011" y="662"/>
                  <a:pt x="1011" y="662"/>
                </a:cubicBezTo>
                <a:cubicBezTo>
                  <a:pt x="1022" y="662"/>
                  <a:pt x="1032" y="652"/>
                  <a:pt x="1032" y="640"/>
                </a:cubicBezTo>
                <a:cubicBezTo>
                  <a:pt x="1032" y="628"/>
                  <a:pt x="1022" y="619"/>
                  <a:pt x="1011" y="619"/>
                </a:cubicBezTo>
                <a:cubicBezTo>
                  <a:pt x="805" y="619"/>
                  <a:pt x="805" y="619"/>
                  <a:pt x="805" y="619"/>
                </a:cubicBezTo>
                <a:cubicBezTo>
                  <a:pt x="801" y="619"/>
                  <a:pt x="798" y="615"/>
                  <a:pt x="798" y="611"/>
                </a:cubicBezTo>
                <a:cubicBezTo>
                  <a:pt x="798" y="607"/>
                  <a:pt x="801" y="604"/>
                  <a:pt x="805" y="604"/>
                </a:cubicBezTo>
                <a:cubicBezTo>
                  <a:pt x="860" y="604"/>
                  <a:pt x="860" y="604"/>
                  <a:pt x="860" y="604"/>
                </a:cubicBezTo>
                <a:cubicBezTo>
                  <a:pt x="872" y="604"/>
                  <a:pt x="881" y="594"/>
                  <a:pt x="881" y="582"/>
                </a:cubicBezTo>
                <a:cubicBezTo>
                  <a:pt x="881" y="570"/>
                  <a:pt x="872" y="561"/>
                  <a:pt x="860" y="561"/>
                </a:cubicBezTo>
                <a:cubicBezTo>
                  <a:pt x="805" y="561"/>
                  <a:pt x="805" y="561"/>
                  <a:pt x="805" y="561"/>
                </a:cubicBezTo>
                <a:cubicBezTo>
                  <a:pt x="801" y="561"/>
                  <a:pt x="798" y="557"/>
                  <a:pt x="798" y="553"/>
                </a:cubicBezTo>
                <a:cubicBezTo>
                  <a:pt x="798" y="549"/>
                  <a:pt x="801" y="546"/>
                  <a:pt x="805" y="546"/>
                </a:cubicBezTo>
                <a:cubicBezTo>
                  <a:pt x="972" y="546"/>
                  <a:pt x="972" y="546"/>
                  <a:pt x="972" y="546"/>
                </a:cubicBezTo>
                <a:cubicBezTo>
                  <a:pt x="984" y="546"/>
                  <a:pt x="993" y="536"/>
                  <a:pt x="993" y="524"/>
                </a:cubicBezTo>
                <a:cubicBezTo>
                  <a:pt x="993" y="513"/>
                  <a:pt x="984" y="503"/>
                  <a:pt x="972" y="503"/>
                </a:cubicBezTo>
                <a:cubicBezTo>
                  <a:pt x="846" y="503"/>
                  <a:pt x="846" y="503"/>
                  <a:pt x="846" y="503"/>
                </a:cubicBezTo>
                <a:cubicBezTo>
                  <a:pt x="842" y="503"/>
                  <a:pt x="839" y="500"/>
                  <a:pt x="839" y="496"/>
                </a:cubicBezTo>
                <a:cubicBezTo>
                  <a:pt x="839" y="492"/>
                  <a:pt x="842" y="488"/>
                  <a:pt x="846" y="488"/>
                </a:cubicBezTo>
                <a:cubicBezTo>
                  <a:pt x="969" y="488"/>
                  <a:pt x="969" y="488"/>
                  <a:pt x="969" y="488"/>
                </a:cubicBezTo>
                <a:cubicBezTo>
                  <a:pt x="981" y="488"/>
                  <a:pt x="991" y="479"/>
                  <a:pt x="991" y="467"/>
                </a:cubicBezTo>
                <a:cubicBezTo>
                  <a:pt x="991" y="455"/>
                  <a:pt x="981" y="445"/>
                  <a:pt x="969" y="445"/>
                </a:cubicBezTo>
                <a:cubicBezTo>
                  <a:pt x="768" y="445"/>
                  <a:pt x="768" y="445"/>
                  <a:pt x="768" y="445"/>
                </a:cubicBezTo>
                <a:cubicBezTo>
                  <a:pt x="764" y="445"/>
                  <a:pt x="761" y="442"/>
                  <a:pt x="761" y="438"/>
                </a:cubicBezTo>
                <a:cubicBezTo>
                  <a:pt x="761" y="434"/>
                  <a:pt x="764" y="430"/>
                  <a:pt x="768" y="430"/>
                </a:cubicBezTo>
                <a:cubicBezTo>
                  <a:pt x="804" y="430"/>
                  <a:pt x="804" y="430"/>
                  <a:pt x="804" y="430"/>
                </a:cubicBezTo>
                <a:cubicBezTo>
                  <a:pt x="816" y="430"/>
                  <a:pt x="826" y="421"/>
                  <a:pt x="826" y="409"/>
                </a:cubicBezTo>
                <a:cubicBezTo>
                  <a:pt x="826" y="397"/>
                  <a:pt x="816" y="387"/>
                  <a:pt x="804" y="387"/>
                </a:cubicBezTo>
                <a:cubicBezTo>
                  <a:pt x="766" y="387"/>
                  <a:pt x="766" y="387"/>
                  <a:pt x="766" y="387"/>
                </a:cubicBezTo>
                <a:cubicBezTo>
                  <a:pt x="762" y="387"/>
                  <a:pt x="759" y="384"/>
                  <a:pt x="759" y="380"/>
                </a:cubicBezTo>
                <a:cubicBezTo>
                  <a:pt x="759" y="376"/>
                  <a:pt x="762" y="373"/>
                  <a:pt x="766" y="373"/>
                </a:cubicBezTo>
                <a:cubicBezTo>
                  <a:pt x="885" y="373"/>
                  <a:pt x="885" y="373"/>
                  <a:pt x="885" y="373"/>
                </a:cubicBezTo>
                <a:cubicBezTo>
                  <a:pt x="886" y="373"/>
                  <a:pt x="887" y="373"/>
                  <a:pt x="888" y="373"/>
                </a:cubicBezTo>
                <a:cubicBezTo>
                  <a:pt x="1592" y="373"/>
                  <a:pt x="1592" y="373"/>
                  <a:pt x="1592" y="373"/>
                </a:cubicBezTo>
                <a:cubicBezTo>
                  <a:pt x="1596" y="373"/>
                  <a:pt x="1599" y="376"/>
                  <a:pt x="1599" y="380"/>
                </a:cubicBezTo>
                <a:cubicBezTo>
                  <a:pt x="1599" y="384"/>
                  <a:pt x="1596" y="388"/>
                  <a:pt x="1592" y="388"/>
                </a:cubicBezTo>
                <a:cubicBezTo>
                  <a:pt x="855" y="388"/>
                  <a:pt x="855" y="388"/>
                  <a:pt x="855" y="388"/>
                </a:cubicBezTo>
                <a:cubicBezTo>
                  <a:pt x="843" y="388"/>
                  <a:pt x="834" y="397"/>
                  <a:pt x="834" y="409"/>
                </a:cubicBezTo>
                <a:cubicBezTo>
                  <a:pt x="834" y="421"/>
                  <a:pt x="843" y="431"/>
                  <a:pt x="855" y="431"/>
                </a:cubicBezTo>
                <a:cubicBezTo>
                  <a:pt x="1592" y="431"/>
                  <a:pt x="1592" y="431"/>
                  <a:pt x="1592" y="431"/>
                </a:cubicBezTo>
                <a:cubicBezTo>
                  <a:pt x="1596" y="431"/>
                  <a:pt x="1599" y="434"/>
                  <a:pt x="1599" y="438"/>
                </a:cubicBezTo>
                <a:cubicBezTo>
                  <a:pt x="1599" y="442"/>
                  <a:pt x="1596" y="445"/>
                  <a:pt x="1592" y="445"/>
                </a:cubicBezTo>
                <a:cubicBezTo>
                  <a:pt x="1039" y="445"/>
                  <a:pt x="1039" y="445"/>
                  <a:pt x="1039" y="445"/>
                </a:cubicBezTo>
                <a:cubicBezTo>
                  <a:pt x="1027" y="445"/>
                  <a:pt x="1017" y="455"/>
                  <a:pt x="1017" y="467"/>
                </a:cubicBezTo>
                <a:cubicBezTo>
                  <a:pt x="1017" y="479"/>
                  <a:pt x="1027" y="489"/>
                  <a:pt x="1039" y="489"/>
                </a:cubicBezTo>
                <a:cubicBezTo>
                  <a:pt x="1553" y="489"/>
                  <a:pt x="1553" y="489"/>
                  <a:pt x="1553" y="489"/>
                </a:cubicBezTo>
                <a:cubicBezTo>
                  <a:pt x="1557" y="489"/>
                  <a:pt x="1560" y="492"/>
                  <a:pt x="1560" y="496"/>
                </a:cubicBezTo>
                <a:cubicBezTo>
                  <a:pt x="1560" y="500"/>
                  <a:pt x="1557" y="503"/>
                  <a:pt x="1553" y="503"/>
                </a:cubicBezTo>
                <a:cubicBezTo>
                  <a:pt x="1039" y="503"/>
                  <a:pt x="1039" y="503"/>
                  <a:pt x="1039" y="503"/>
                </a:cubicBezTo>
                <a:cubicBezTo>
                  <a:pt x="1027" y="503"/>
                  <a:pt x="1017" y="513"/>
                  <a:pt x="1017" y="525"/>
                </a:cubicBezTo>
                <a:cubicBezTo>
                  <a:pt x="1017" y="537"/>
                  <a:pt x="1027" y="546"/>
                  <a:pt x="1039" y="546"/>
                </a:cubicBezTo>
                <a:cubicBezTo>
                  <a:pt x="1528" y="546"/>
                  <a:pt x="1528" y="546"/>
                  <a:pt x="1528" y="546"/>
                </a:cubicBezTo>
                <a:cubicBezTo>
                  <a:pt x="1532" y="546"/>
                  <a:pt x="1536" y="550"/>
                  <a:pt x="1536" y="554"/>
                </a:cubicBezTo>
                <a:cubicBezTo>
                  <a:pt x="1536" y="558"/>
                  <a:pt x="1532" y="561"/>
                  <a:pt x="1528" y="561"/>
                </a:cubicBezTo>
                <a:cubicBezTo>
                  <a:pt x="1019" y="561"/>
                  <a:pt x="1019" y="561"/>
                  <a:pt x="1019" y="561"/>
                </a:cubicBezTo>
                <a:cubicBezTo>
                  <a:pt x="1007" y="561"/>
                  <a:pt x="997" y="571"/>
                  <a:pt x="997" y="583"/>
                </a:cubicBezTo>
                <a:cubicBezTo>
                  <a:pt x="997" y="595"/>
                  <a:pt x="1007" y="604"/>
                  <a:pt x="1019" y="604"/>
                </a:cubicBezTo>
                <a:cubicBezTo>
                  <a:pt x="1526" y="604"/>
                  <a:pt x="1526" y="604"/>
                  <a:pt x="1526" y="604"/>
                </a:cubicBezTo>
                <a:cubicBezTo>
                  <a:pt x="1530" y="604"/>
                  <a:pt x="1534" y="607"/>
                  <a:pt x="1534" y="612"/>
                </a:cubicBezTo>
                <a:cubicBezTo>
                  <a:pt x="1534" y="616"/>
                  <a:pt x="1530" y="619"/>
                  <a:pt x="1526" y="619"/>
                </a:cubicBezTo>
                <a:cubicBezTo>
                  <a:pt x="1068" y="619"/>
                  <a:pt x="1068" y="619"/>
                  <a:pt x="1068" y="619"/>
                </a:cubicBezTo>
                <a:cubicBezTo>
                  <a:pt x="1056" y="619"/>
                  <a:pt x="1046" y="629"/>
                  <a:pt x="1046" y="640"/>
                </a:cubicBezTo>
                <a:cubicBezTo>
                  <a:pt x="1046" y="652"/>
                  <a:pt x="1056" y="662"/>
                  <a:pt x="1068" y="662"/>
                </a:cubicBezTo>
                <a:cubicBezTo>
                  <a:pt x="1436" y="662"/>
                  <a:pt x="1436" y="662"/>
                  <a:pt x="1436" y="662"/>
                </a:cubicBezTo>
                <a:cubicBezTo>
                  <a:pt x="1440" y="662"/>
                  <a:pt x="1443" y="665"/>
                  <a:pt x="1443" y="669"/>
                </a:cubicBezTo>
                <a:cubicBezTo>
                  <a:pt x="1443" y="673"/>
                  <a:pt x="1440" y="677"/>
                  <a:pt x="1436" y="677"/>
                </a:cubicBezTo>
                <a:cubicBezTo>
                  <a:pt x="1287" y="677"/>
                  <a:pt x="1287" y="677"/>
                  <a:pt x="1287" y="677"/>
                </a:cubicBezTo>
                <a:cubicBezTo>
                  <a:pt x="1276" y="677"/>
                  <a:pt x="1266" y="686"/>
                  <a:pt x="1266" y="698"/>
                </a:cubicBezTo>
                <a:cubicBezTo>
                  <a:pt x="1266" y="710"/>
                  <a:pt x="1276" y="720"/>
                  <a:pt x="1287" y="720"/>
                </a:cubicBezTo>
                <a:cubicBezTo>
                  <a:pt x="1454" y="720"/>
                  <a:pt x="1454" y="720"/>
                  <a:pt x="1454" y="720"/>
                </a:cubicBezTo>
                <a:cubicBezTo>
                  <a:pt x="1458" y="720"/>
                  <a:pt x="1461" y="723"/>
                  <a:pt x="1461" y="727"/>
                </a:cubicBezTo>
                <a:cubicBezTo>
                  <a:pt x="1461" y="731"/>
                  <a:pt x="1458" y="734"/>
                  <a:pt x="1454" y="734"/>
                </a:cubicBezTo>
                <a:cubicBezTo>
                  <a:pt x="1321" y="734"/>
                  <a:pt x="1321" y="734"/>
                  <a:pt x="1321" y="734"/>
                </a:cubicBezTo>
                <a:cubicBezTo>
                  <a:pt x="1309" y="734"/>
                  <a:pt x="1300" y="744"/>
                  <a:pt x="1300" y="756"/>
                </a:cubicBezTo>
                <a:cubicBezTo>
                  <a:pt x="1300" y="768"/>
                  <a:pt x="1309" y="778"/>
                  <a:pt x="1321" y="778"/>
                </a:cubicBezTo>
                <a:cubicBezTo>
                  <a:pt x="1549" y="778"/>
                  <a:pt x="1549" y="778"/>
                  <a:pt x="1549" y="778"/>
                </a:cubicBezTo>
                <a:cubicBezTo>
                  <a:pt x="1553" y="778"/>
                  <a:pt x="1556" y="781"/>
                  <a:pt x="1556" y="785"/>
                </a:cubicBezTo>
                <a:cubicBezTo>
                  <a:pt x="1556" y="789"/>
                  <a:pt x="1553" y="792"/>
                  <a:pt x="1549" y="792"/>
                </a:cubicBezTo>
                <a:cubicBezTo>
                  <a:pt x="1455" y="792"/>
                  <a:pt x="1455" y="792"/>
                  <a:pt x="1455" y="792"/>
                </a:cubicBezTo>
                <a:cubicBezTo>
                  <a:pt x="1443" y="792"/>
                  <a:pt x="1434" y="802"/>
                  <a:pt x="1434" y="814"/>
                </a:cubicBezTo>
                <a:cubicBezTo>
                  <a:pt x="1434" y="826"/>
                  <a:pt x="1443" y="835"/>
                  <a:pt x="1455" y="835"/>
                </a:cubicBezTo>
                <a:cubicBezTo>
                  <a:pt x="1623" y="835"/>
                  <a:pt x="1623" y="835"/>
                  <a:pt x="1623" y="835"/>
                </a:cubicBezTo>
                <a:cubicBezTo>
                  <a:pt x="1635" y="835"/>
                  <a:pt x="1645" y="826"/>
                  <a:pt x="1645" y="814"/>
                </a:cubicBezTo>
                <a:cubicBezTo>
                  <a:pt x="1645" y="802"/>
                  <a:pt x="1635" y="792"/>
                  <a:pt x="1623" y="792"/>
                </a:cubicBezTo>
                <a:cubicBezTo>
                  <a:pt x="1607" y="792"/>
                  <a:pt x="1607" y="792"/>
                  <a:pt x="1607" y="792"/>
                </a:cubicBezTo>
                <a:cubicBezTo>
                  <a:pt x="1603" y="792"/>
                  <a:pt x="1600" y="789"/>
                  <a:pt x="1600" y="785"/>
                </a:cubicBezTo>
                <a:cubicBezTo>
                  <a:pt x="1600" y="781"/>
                  <a:pt x="1603" y="778"/>
                  <a:pt x="1607" y="778"/>
                </a:cubicBezTo>
                <a:cubicBezTo>
                  <a:pt x="1683" y="778"/>
                  <a:pt x="1683" y="778"/>
                  <a:pt x="1683" y="778"/>
                </a:cubicBezTo>
                <a:cubicBezTo>
                  <a:pt x="1687" y="778"/>
                  <a:pt x="1690" y="781"/>
                  <a:pt x="1690" y="785"/>
                </a:cubicBezTo>
                <a:cubicBezTo>
                  <a:pt x="1690" y="789"/>
                  <a:pt x="1687" y="792"/>
                  <a:pt x="1683" y="792"/>
                </a:cubicBezTo>
                <a:cubicBezTo>
                  <a:pt x="1673" y="792"/>
                  <a:pt x="1673" y="792"/>
                  <a:pt x="1673" y="792"/>
                </a:cubicBezTo>
                <a:cubicBezTo>
                  <a:pt x="1662" y="792"/>
                  <a:pt x="1652" y="802"/>
                  <a:pt x="1652" y="814"/>
                </a:cubicBezTo>
                <a:cubicBezTo>
                  <a:pt x="1652" y="826"/>
                  <a:pt x="1662" y="835"/>
                  <a:pt x="1673" y="835"/>
                </a:cubicBezTo>
                <a:cubicBezTo>
                  <a:pt x="1681" y="835"/>
                  <a:pt x="1681" y="835"/>
                  <a:pt x="1681" y="835"/>
                </a:cubicBezTo>
                <a:cubicBezTo>
                  <a:pt x="1693" y="835"/>
                  <a:pt x="1703" y="845"/>
                  <a:pt x="1703" y="857"/>
                </a:cubicBezTo>
                <a:cubicBezTo>
                  <a:pt x="1703" y="869"/>
                  <a:pt x="1693" y="879"/>
                  <a:pt x="1681" y="879"/>
                </a:cubicBezTo>
                <a:cubicBezTo>
                  <a:pt x="1550" y="879"/>
                  <a:pt x="1550" y="879"/>
                  <a:pt x="1550" y="879"/>
                </a:cubicBezTo>
                <a:cubicBezTo>
                  <a:pt x="1538" y="879"/>
                  <a:pt x="1529" y="889"/>
                  <a:pt x="1529" y="901"/>
                </a:cubicBezTo>
                <a:cubicBezTo>
                  <a:pt x="1529" y="913"/>
                  <a:pt x="1538" y="922"/>
                  <a:pt x="1550" y="922"/>
                </a:cubicBezTo>
                <a:cubicBezTo>
                  <a:pt x="1697" y="922"/>
                  <a:pt x="1697" y="922"/>
                  <a:pt x="1697" y="922"/>
                </a:cubicBezTo>
                <a:cubicBezTo>
                  <a:pt x="1701" y="922"/>
                  <a:pt x="1704" y="925"/>
                  <a:pt x="1704" y="929"/>
                </a:cubicBezTo>
                <a:cubicBezTo>
                  <a:pt x="1704" y="934"/>
                  <a:pt x="1701" y="937"/>
                  <a:pt x="1697" y="937"/>
                </a:cubicBezTo>
                <a:cubicBezTo>
                  <a:pt x="1504" y="937"/>
                  <a:pt x="1504" y="937"/>
                  <a:pt x="1504" y="937"/>
                </a:cubicBezTo>
                <a:cubicBezTo>
                  <a:pt x="1492" y="937"/>
                  <a:pt x="1482" y="946"/>
                  <a:pt x="1482" y="958"/>
                </a:cubicBezTo>
                <a:cubicBezTo>
                  <a:pt x="1482" y="970"/>
                  <a:pt x="1492" y="980"/>
                  <a:pt x="1504" y="980"/>
                </a:cubicBezTo>
                <a:cubicBezTo>
                  <a:pt x="1712" y="980"/>
                  <a:pt x="1712" y="980"/>
                  <a:pt x="1712" y="980"/>
                </a:cubicBezTo>
                <a:cubicBezTo>
                  <a:pt x="1716" y="980"/>
                  <a:pt x="1719" y="983"/>
                  <a:pt x="1719" y="987"/>
                </a:cubicBezTo>
                <a:cubicBezTo>
                  <a:pt x="1719" y="991"/>
                  <a:pt x="1716" y="995"/>
                  <a:pt x="1712" y="995"/>
                </a:cubicBezTo>
                <a:cubicBezTo>
                  <a:pt x="1505" y="995"/>
                  <a:pt x="1505" y="995"/>
                  <a:pt x="1505" y="995"/>
                </a:cubicBezTo>
                <a:cubicBezTo>
                  <a:pt x="1494" y="995"/>
                  <a:pt x="1484" y="1004"/>
                  <a:pt x="1484" y="1016"/>
                </a:cubicBezTo>
                <a:cubicBezTo>
                  <a:pt x="1484" y="1028"/>
                  <a:pt x="1494" y="1038"/>
                  <a:pt x="1505" y="1038"/>
                </a:cubicBezTo>
                <a:cubicBezTo>
                  <a:pt x="1693" y="1038"/>
                  <a:pt x="1693" y="1038"/>
                  <a:pt x="1693" y="1038"/>
                </a:cubicBezTo>
                <a:cubicBezTo>
                  <a:pt x="1697" y="1038"/>
                  <a:pt x="1701" y="1041"/>
                  <a:pt x="1701" y="1045"/>
                </a:cubicBezTo>
                <a:cubicBezTo>
                  <a:pt x="1701" y="1049"/>
                  <a:pt x="1697" y="1052"/>
                  <a:pt x="1693" y="1052"/>
                </a:cubicBezTo>
                <a:cubicBezTo>
                  <a:pt x="1635" y="1052"/>
                  <a:pt x="1635" y="1052"/>
                  <a:pt x="1635" y="1052"/>
                </a:cubicBezTo>
                <a:cubicBezTo>
                  <a:pt x="1623" y="1052"/>
                  <a:pt x="1613" y="1062"/>
                  <a:pt x="1613" y="1074"/>
                </a:cubicBezTo>
                <a:cubicBezTo>
                  <a:pt x="1613" y="1086"/>
                  <a:pt x="1623" y="1096"/>
                  <a:pt x="1635" y="1096"/>
                </a:cubicBezTo>
                <a:cubicBezTo>
                  <a:pt x="1658" y="1096"/>
                  <a:pt x="1658" y="1096"/>
                  <a:pt x="1658" y="1096"/>
                </a:cubicBezTo>
                <a:cubicBezTo>
                  <a:pt x="1662" y="1096"/>
                  <a:pt x="1665" y="1099"/>
                  <a:pt x="1665" y="1103"/>
                </a:cubicBezTo>
                <a:cubicBezTo>
                  <a:pt x="1665" y="1107"/>
                  <a:pt x="1662" y="1110"/>
                  <a:pt x="1658" y="1110"/>
                </a:cubicBezTo>
                <a:cubicBezTo>
                  <a:pt x="1650" y="1110"/>
                  <a:pt x="1650" y="1110"/>
                  <a:pt x="1650" y="1110"/>
                </a:cubicBezTo>
                <a:cubicBezTo>
                  <a:pt x="1630" y="1110"/>
                  <a:pt x="1614" y="1126"/>
                  <a:pt x="1614" y="1146"/>
                </a:cubicBezTo>
                <a:cubicBezTo>
                  <a:pt x="1614" y="1166"/>
                  <a:pt x="1630" y="1182"/>
                  <a:pt x="1650" y="1182"/>
                </a:cubicBezTo>
                <a:cubicBezTo>
                  <a:pt x="1789" y="1182"/>
                  <a:pt x="1789" y="1182"/>
                  <a:pt x="1789" y="1182"/>
                </a:cubicBezTo>
                <a:cubicBezTo>
                  <a:pt x="1801" y="1182"/>
                  <a:pt x="1811" y="1173"/>
                  <a:pt x="1811" y="1161"/>
                </a:cubicBezTo>
                <a:cubicBezTo>
                  <a:pt x="1811" y="1149"/>
                  <a:pt x="1801" y="1139"/>
                  <a:pt x="1789" y="1139"/>
                </a:cubicBezTo>
                <a:cubicBezTo>
                  <a:pt x="1766" y="1139"/>
                  <a:pt x="1766" y="1139"/>
                  <a:pt x="1766" y="1139"/>
                </a:cubicBezTo>
                <a:cubicBezTo>
                  <a:pt x="1762" y="1139"/>
                  <a:pt x="1759" y="1136"/>
                  <a:pt x="1759" y="1132"/>
                </a:cubicBezTo>
                <a:cubicBezTo>
                  <a:pt x="1759" y="1128"/>
                  <a:pt x="1762" y="1125"/>
                  <a:pt x="1766" y="1125"/>
                </a:cubicBezTo>
                <a:cubicBezTo>
                  <a:pt x="1824" y="1125"/>
                  <a:pt x="1824" y="1125"/>
                  <a:pt x="1824" y="1125"/>
                </a:cubicBezTo>
                <a:cubicBezTo>
                  <a:pt x="1836" y="1125"/>
                  <a:pt x="1846" y="1115"/>
                  <a:pt x="1846" y="1103"/>
                </a:cubicBezTo>
                <a:cubicBezTo>
                  <a:pt x="1846" y="1091"/>
                  <a:pt x="1836" y="1081"/>
                  <a:pt x="1824" y="1081"/>
                </a:cubicBezTo>
                <a:cubicBezTo>
                  <a:pt x="1797" y="1081"/>
                  <a:pt x="1797" y="1081"/>
                  <a:pt x="1797" y="1081"/>
                </a:cubicBezTo>
                <a:cubicBezTo>
                  <a:pt x="1793" y="1081"/>
                  <a:pt x="1790" y="1078"/>
                  <a:pt x="1790" y="1074"/>
                </a:cubicBezTo>
                <a:cubicBezTo>
                  <a:pt x="1790" y="1070"/>
                  <a:pt x="1793" y="1067"/>
                  <a:pt x="1797" y="1067"/>
                </a:cubicBezTo>
                <a:cubicBezTo>
                  <a:pt x="1843" y="1067"/>
                  <a:pt x="1843" y="1067"/>
                  <a:pt x="1843" y="1067"/>
                </a:cubicBezTo>
                <a:cubicBezTo>
                  <a:pt x="1855" y="1067"/>
                  <a:pt x="1864" y="1057"/>
                  <a:pt x="1864" y="1045"/>
                </a:cubicBezTo>
                <a:cubicBezTo>
                  <a:pt x="1864" y="1033"/>
                  <a:pt x="1855" y="1024"/>
                  <a:pt x="1843" y="1024"/>
                </a:cubicBezTo>
                <a:cubicBezTo>
                  <a:pt x="1791" y="1023"/>
                  <a:pt x="1791" y="1023"/>
                  <a:pt x="1791" y="1023"/>
                </a:cubicBezTo>
                <a:cubicBezTo>
                  <a:pt x="1787" y="1023"/>
                  <a:pt x="1784" y="1020"/>
                  <a:pt x="1784" y="1016"/>
                </a:cubicBezTo>
                <a:cubicBezTo>
                  <a:pt x="1784" y="1012"/>
                  <a:pt x="1787" y="1009"/>
                  <a:pt x="1791" y="1009"/>
                </a:cubicBezTo>
                <a:cubicBezTo>
                  <a:pt x="1876" y="1009"/>
                  <a:pt x="1876" y="1009"/>
                  <a:pt x="1876" y="1009"/>
                </a:cubicBezTo>
                <a:cubicBezTo>
                  <a:pt x="1945" y="1009"/>
                  <a:pt x="2002" y="955"/>
                  <a:pt x="2008" y="887"/>
                </a:cubicBezTo>
                <a:cubicBezTo>
                  <a:pt x="2015" y="884"/>
                  <a:pt x="2020" y="878"/>
                  <a:pt x="2020" y="870"/>
                </a:cubicBezTo>
                <a:cubicBezTo>
                  <a:pt x="2020" y="860"/>
                  <a:pt x="2011" y="851"/>
                  <a:pt x="2001" y="851"/>
                </a:cubicBezTo>
                <a:close/>
                <a:moveTo>
                  <a:pt x="868" y="358"/>
                </a:moveTo>
                <a:cubicBezTo>
                  <a:pt x="766" y="358"/>
                  <a:pt x="766" y="358"/>
                  <a:pt x="766" y="358"/>
                </a:cubicBezTo>
                <a:cubicBezTo>
                  <a:pt x="754" y="358"/>
                  <a:pt x="744" y="368"/>
                  <a:pt x="744" y="380"/>
                </a:cubicBezTo>
                <a:cubicBezTo>
                  <a:pt x="744" y="392"/>
                  <a:pt x="754" y="402"/>
                  <a:pt x="766" y="402"/>
                </a:cubicBezTo>
                <a:cubicBezTo>
                  <a:pt x="804" y="402"/>
                  <a:pt x="804" y="402"/>
                  <a:pt x="804" y="402"/>
                </a:cubicBezTo>
                <a:cubicBezTo>
                  <a:pt x="809" y="402"/>
                  <a:pt x="812" y="405"/>
                  <a:pt x="812" y="409"/>
                </a:cubicBezTo>
                <a:cubicBezTo>
                  <a:pt x="812" y="413"/>
                  <a:pt x="809" y="416"/>
                  <a:pt x="804" y="416"/>
                </a:cubicBezTo>
                <a:cubicBezTo>
                  <a:pt x="768" y="416"/>
                  <a:pt x="768" y="416"/>
                  <a:pt x="768" y="416"/>
                </a:cubicBezTo>
                <a:cubicBezTo>
                  <a:pt x="756" y="416"/>
                  <a:pt x="747" y="426"/>
                  <a:pt x="747" y="438"/>
                </a:cubicBezTo>
                <a:cubicBezTo>
                  <a:pt x="747" y="450"/>
                  <a:pt x="756" y="459"/>
                  <a:pt x="768" y="459"/>
                </a:cubicBezTo>
                <a:cubicBezTo>
                  <a:pt x="969" y="459"/>
                  <a:pt x="969" y="459"/>
                  <a:pt x="969" y="459"/>
                </a:cubicBezTo>
                <a:cubicBezTo>
                  <a:pt x="973" y="459"/>
                  <a:pt x="977" y="463"/>
                  <a:pt x="977" y="467"/>
                </a:cubicBezTo>
                <a:cubicBezTo>
                  <a:pt x="977" y="471"/>
                  <a:pt x="973" y="474"/>
                  <a:pt x="969" y="474"/>
                </a:cubicBezTo>
                <a:cubicBezTo>
                  <a:pt x="846" y="474"/>
                  <a:pt x="846" y="474"/>
                  <a:pt x="846" y="474"/>
                </a:cubicBezTo>
                <a:cubicBezTo>
                  <a:pt x="834" y="474"/>
                  <a:pt x="824" y="484"/>
                  <a:pt x="824" y="496"/>
                </a:cubicBezTo>
                <a:cubicBezTo>
                  <a:pt x="824" y="507"/>
                  <a:pt x="834" y="517"/>
                  <a:pt x="846" y="517"/>
                </a:cubicBezTo>
                <a:cubicBezTo>
                  <a:pt x="972" y="517"/>
                  <a:pt x="972" y="517"/>
                  <a:pt x="972" y="517"/>
                </a:cubicBezTo>
                <a:cubicBezTo>
                  <a:pt x="976" y="517"/>
                  <a:pt x="979" y="520"/>
                  <a:pt x="979" y="524"/>
                </a:cubicBezTo>
                <a:cubicBezTo>
                  <a:pt x="979" y="529"/>
                  <a:pt x="976" y="532"/>
                  <a:pt x="972" y="532"/>
                </a:cubicBezTo>
                <a:cubicBezTo>
                  <a:pt x="805" y="532"/>
                  <a:pt x="805" y="532"/>
                  <a:pt x="805" y="532"/>
                </a:cubicBezTo>
                <a:cubicBezTo>
                  <a:pt x="793" y="532"/>
                  <a:pt x="783" y="541"/>
                  <a:pt x="783" y="553"/>
                </a:cubicBezTo>
                <a:cubicBezTo>
                  <a:pt x="783" y="565"/>
                  <a:pt x="793" y="575"/>
                  <a:pt x="805" y="575"/>
                </a:cubicBezTo>
                <a:cubicBezTo>
                  <a:pt x="860" y="575"/>
                  <a:pt x="860" y="575"/>
                  <a:pt x="860" y="575"/>
                </a:cubicBezTo>
                <a:cubicBezTo>
                  <a:pt x="864" y="575"/>
                  <a:pt x="867" y="578"/>
                  <a:pt x="867" y="582"/>
                </a:cubicBezTo>
                <a:cubicBezTo>
                  <a:pt x="867" y="586"/>
                  <a:pt x="864" y="590"/>
                  <a:pt x="860" y="590"/>
                </a:cubicBezTo>
                <a:cubicBezTo>
                  <a:pt x="805" y="590"/>
                  <a:pt x="805" y="590"/>
                  <a:pt x="805" y="590"/>
                </a:cubicBezTo>
                <a:cubicBezTo>
                  <a:pt x="793" y="590"/>
                  <a:pt x="783" y="599"/>
                  <a:pt x="783" y="611"/>
                </a:cubicBezTo>
                <a:cubicBezTo>
                  <a:pt x="783" y="623"/>
                  <a:pt x="793" y="633"/>
                  <a:pt x="805" y="633"/>
                </a:cubicBezTo>
                <a:cubicBezTo>
                  <a:pt x="1011" y="633"/>
                  <a:pt x="1011" y="633"/>
                  <a:pt x="1011" y="633"/>
                </a:cubicBezTo>
                <a:cubicBezTo>
                  <a:pt x="1015" y="633"/>
                  <a:pt x="1018" y="636"/>
                  <a:pt x="1018" y="640"/>
                </a:cubicBezTo>
                <a:cubicBezTo>
                  <a:pt x="1018" y="644"/>
                  <a:pt x="1015" y="647"/>
                  <a:pt x="1011" y="647"/>
                </a:cubicBezTo>
                <a:cubicBezTo>
                  <a:pt x="763" y="647"/>
                  <a:pt x="763" y="647"/>
                  <a:pt x="763" y="647"/>
                </a:cubicBezTo>
                <a:cubicBezTo>
                  <a:pt x="751" y="647"/>
                  <a:pt x="741" y="657"/>
                  <a:pt x="741" y="669"/>
                </a:cubicBezTo>
                <a:cubicBezTo>
                  <a:pt x="741" y="681"/>
                  <a:pt x="751" y="691"/>
                  <a:pt x="763" y="691"/>
                </a:cubicBezTo>
                <a:cubicBezTo>
                  <a:pt x="1046" y="691"/>
                  <a:pt x="1046" y="691"/>
                  <a:pt x="1046" y="691"/>
                </a:cubicBezTo>
                <a:cubicBezTo>
                  <a:pt x="1050" y="691"/>
                  <a:pt x="1054" y="694"/>
                  <a:pt x="1054" y="698"/>
                </a:cubicBezTo>
                <a:cubicBezTo>
                  <a:pt x="1054" y="702"/>
                  <a:pt x="1050" y="705"/>
                  <a:pt x="1046" y="705"/>
                </a:cubicBezTo>
                <a:cubicBezTo>
                  <a:pt x="791" y="705"/>
                  <a:pt x="791" y="705"/>
                  <a:pt x="791" y="705"/>
                </a:cubicBezTo>
                <a:cubicBezTo>
                  <a:pt x="779" y="705"/>
                  <a:pt x="770" y="715"/>
                  <a:pt x="770" y="727"/>
                </a:cubicBezTo>
                <a:cubicBezTo>
                  <a:pt x="770" y="739"/>
                  <a:pt x="779" y="748"/>
                  <a:pt x="791" y="748"/>
                </a:cubicBezTo>
                <a:cubicBezTo>
                  <a:pt x="1104" y="748"/>
                  <a:pt x="1104" y="748"/>
                  <a:pt x="1104" y="748"/>
                </a:cubicBezTo>
                <a:cubicBezTo>
                  <a:pt x="1108" y="748"/>
                  <a:pt x="1111" y="752"/>
                  <a:pt x="1111" y="756"/>
                </a:cubicBezTo>
                <a:cubicBezTo>
                  <a:pt x="1111" y="760"/>
                  <a:pt x="1108" y="763"/>
                  <a:pt x="1104" y="763"/>
                </a:cubicBezTo>
                <a:cubicBezTo>
                  <a:pt x="905" y="763"/>
                  <a:pt x="905" y="763"/>
                  <a:pt x="905" y="763"/>
                </a:cubicBezTo>
                <a:cubicBezTo>
                  <a:pt x="893" y="763"/>
                  <a:pt x="883" y="773"/>
                  <a:pt x="883" y="785"/>
                </a:cubicBezTo>
                <a:cubicBezTo>
                  <a:pt x="883" y="797"/>
                  <a:pt x="893" y="806"/>
                  <a:pt x="905" y="806"/>
                </a:cubicBezTo>
                <a:cubicBezTo>
                  <a:pt x="1049" y="806"/>
                  <a:pt x="1049" y="806"/>
                  <a:pt x="1049" y="806"/>
                </a:cubicBezTo>
                <a:cubicBezTo>
                  <a:pt x="1053" y="806"/>
                  <a:pt x="1057" y="810"/>
                  <a:pt x="1057" y="814"/>
                </a:cubicBezTo>
                <a:cubicBezTo>
                  <a:pt x="1057" y="818"/>
                  <a:pt x="1053" y="821"/>
                  <a:pt x="1049" y="821"/>
                </a:cubicBezTo>
                <a:cubicBezTo>
                  <a:pt x="914" y="821"/>
                  <a:pt x="914" y="821"/>
                  <a:pt x="914" y="821"/>
                </a:cubicBezTo>
                <a:cubicBezTo>
                  <a:pt x="902" y="821"/>
                  <a:pt x="892" y="831"/>
                  <a:pt x="892" y="842"/>
                </a:cubicBezTo>
                <a:cubicBezTo>
                  <a:pt x="892" y="854"/>
                  <a:pt x="902" y="864"/>
                  <a:pt x="914" y="864"/>
                </a:cubicBezTo>
                <a:cubicBezTo>
                  <a:pt x="1053" y="864"/>
                  <a:pt x="1053" y="864"/>
                  <a:pt x="1053" y="864"/>
                </a:cubicBezTo>
                <a:cubicBezTo>
                  <a:pt x="1057" y="864"/>
                  <a:pt x="1061" y="867"/>
                  <a:pt x="1061" y="871"/>
                </a:cubicBezTo>
                <a:cubicBezTo>
                  <a:pt x="1061" y="875"/>
                  <a:pt x="1057" y="879"/>
                  <a:pt x="1053" y="879"/>
                </a:cubicBezTo>
                <a:cubicBezTo>
                  <a:pt x="919" y="879"/>
                  <a:pt x="919" y="879"/>
                  <a:pt x="919" y="879"/>
                </a:cubicBezTo>
                <a:cubicBezTo>
                  <a:pt x="907" y="879"/>
                  <a:pt x="898" y="888"/>
                  <a:pt x="898" y="900"/>
                </a:cubicBezTo>
                <a:cubicBezTo>
                  <a:pt x="898" y="912"/>
                  <a:pt x="907" y="922"/>
                  <a:pt x="919" y="922"/>
                </a:cubicBezTo>
                <a:cubicBezTo>
                  <a:pt x="1017" y="922"/>
                  <a:pt x="1017" y="922"/>
                  <a:pt x="1017" y="922"/>
                </a:cubicBezTo>
                <a:cubicBezTo>
                  <a:pt x="1021" y="922"/>
                  <a:pt x="1024" y="925"/>
                  <a:pt x="1024" y="929"/>
                </a:cubicBezTo>
                <a:cubicBezTo>
                  <a:pt x="1024" y="933"/>
                  <a:pt x="1021" y="936"/>
                  <a:pt x="1017" y="936"/>
                </a:cubicBezTo>
                <a:cubicBezTo>
                  <a:pt x="941" y="936"/>
                  <a:pt x="941" y="936"/>
                  <a:pt x="941" y="936"/>
                </a:cubicBezTo>
                <a:cubicBezTo>
                  <a:pt x="929" y="936"/>
                  <a:pt x="919" y="946"/>
                  <a:pt x="919" y="958"/>
                </a:cubicBezTo>
                <a:cubicBezTo>
                  <a:pt x="919" y="970"/>
                  <a:pt x="929" y="980"/>
                  <a:pt x="941" y="980"/>
                </a:cubicBezTo>
                <a:cubicBezTo>
                  <a:pt x="979" y="980"/>
                  <a:pt x="979" y="980"/>
                  <a:pt x="979" y="980"/>
                </a:cubicBezTo>
                <a:cubicBezTo>
                  <a:pt x="983" y="980"/>
                  <a:pt x="986" y="983"/>
                  <a:pt x="986" y="987"/>
                </a:cubicBezTo>
                <a:cubicBezTo>
                  <a:pt x="986" y="991"/>
                  <a:pt x="983" y="994"/>
                  <a:pt x="979" y="994"/>
                </a:cubicBezTo>
                <a:cubicBezTo>
                  <a:pt x="976" y="994"/>
                  <a:pt x="976" y="994"/>
                  <a:pt x="976" y="994"/>
                </a:cubicBezTo>
                <a:cubicBezTo>
                  <a:pt x="956" y="994"/>
                  <a:pt x="940" y="1010"/>
                  <a:pt x="940" y="1030"/>
                </a:cubicBezTo>
                <a:cubicBezTo>
                  <a:pt x="940" y="1050"/>
                  <a:pt x="956" y="1066"/>
                  <a:pt x="976" y="1066"/>
                </a:cubicBezTo>
                <a:cubicBezTo>
                  <a:pt x="1017" y="1066"/>
                  <a:pt x="1017" y="1066"/>
                  <a:pt x="1017" y="1066"/>
                </a:cubicBezTo>
                <a:cubicBezTo>
                  <a:pt x="1029" y="1066"/>
                  <a:pt x="1039" y="1076"/>
                  <a:pt x="1039" y="1088"/>
                </a:cubicBezTo>
                <a:cubicBezTo>
                  <a:pt x="1039" y="1100"/>
                  <a:pt x="1029" y="1110"/>
                  <a:pt x="1017" y="1110"/>
                </a:cubicBezTo>
                <a:cubicBezTo>
                  <a:pt x="443" y="1110"/>
                  <a:pt x="443" y="1110"/>
                  <a:pt x="443" y="1110"/>
                </a:cubicBezTo>
                <a:cubicBezTo>
                  <a:pt x="439" y="1110"/>
                  <a:pt x="436" y="1107"/>
                  <a:pt x="436" y="1103"/>
                </a:cubicBezTo>
                <a:cubicBezTo>
                  <a:pt x="436" y="1099"/>
                  <a:pt x="439" y="1095"/>
                  <a:pt x="443" y="1095"/>
                </a:cubicBezTo>
                <a:cubicBezTo>
                  <a:pt x="472" y="1095"/>
                  <a:pt x="472" y="1095"/>
                  <a:pt x="472" y="1095"/>
                </a:cubicBezTo>
                <a:cubicBezTo>
                  <a:pt x="484" y="1095"/>
                  <a:pt x="493" y="1086"/>
                  <a:pt x="493" y="1074"/>
                </a:cubicBezTo>
                <a:cubicBezTo>
                  <a:pt x="493" y="1062"/>
                  <a:pt x="484" y="1052"/>
                  <a:pt x="472" y="1052"/>
                </a:cubicBezTo>
                <a:cubicBezTo>
                  <a:pt x="443" y="1052"/>
                  <a:pt x="443" y="1052"/>
                  <a:pt x="443" y="1052"/>
                </a:cubicBezTo>
                <a:cubicBezTo>
                  <a:pt x="439" y="1052"/>
                  <a:pt x="436" y="1049"/>
                  <a:pt x="436" y="1045"/>
                </a:cubicBezTo>
                <a:cubicBezTo>
                  <a:pt x="436" y="1041"/>
                  <a:pt x="439" y="1037"/>
                  <a:pt x="443" y="1037"/>
                </a:cubicBezTo>
                <a:cubicBezTo>
                  <a:pt x="495" y="1037"/>
                  <a:pt x="495" y="1037"/>
                  <a:pt x="495" y="1037"/>
                </a:cubicBezTo>
                <a:cubicBezTo>
                  <a:pt x="507" y="1037"/>
                  <a:pt x="517" y="1028"/>
                  <a:pt x="517" y="1016"/>
                </a:cubicBezTo>
                <a:cubicBezTo>
                  <a:pt x="517" y="1004"/>
                  <a:pt x="507" y="994"/>
                  <a:pt x="495" y="994"/>
                </a:cubicBezTo>
                <a:cubicBezTo>
                  <a:pt x="438" y="994"/>
                  <a:pt x="438" y="994"/>
                  <a:pt x="438" y="994"/>
                </a:cubicBezTo>
                <a:cubicBezTo>
                  <a:pt x="434" y="994"/>
                  <a:pt x="431" y="991"/>
                  <a:pt x="431" y="987"/>
                </a:cubicBezTo>
                <a:cubicBezTo>
                  <a:pt x="431" y="983"/>
                  <a:pt x="434" y="980"/>
                  <a:pt x="438" y="980"/>
                </a:cubicBezTo>
                <a:cubicBezTo>
                  <a:pt x="551" y="980"/>
                  <a:pt x="551" y="980"/>
                  <a:pt x="551" y="980"/>
                </a:cubicBezTo>
                <a:cubicBezTo>
                  <a:pt x="563" y="980"/>
                  <a:pt x="572" y="970"/>
                  <a:pt x="572" y="958"/>
                </a:cubicBezTo>
                <a:cubicBezTo>
                  <a:pt x="572" y="946"/>
                  <a:pt x="563" y="936"/>
                  <a:pt x="551" y="936"/>
                </a:cubicBezTo>
                <a:cubicBezTo>
                  <a:pt x="446" y="936"/>
                  <a:pt x="446" y="936"/>
                  <a:pt x="446" y="936"/>
                </a:cubicBezTo>
                <a:cubicBezTo>
                  <a:pt x="442" y="936"/>
                  <a:pt x="439" y="933"/>
                  <a:pt x="439" y="929"/>
                </a:cubicBezTo>
                <a:cubicBezTo>
                  <a:pt x="439" y="925"/>
                  <a:pt x="442" y="922"/>
                  <a:pt x="446" y="922"/>
                </a:cubicBezTo>
                <a:cubicBezTo>
                  <a:pt x="593" y="922"/>
                  <a:pt x="593" y="922"/>
                  <a:pt x="593" y="922"/>
                </a:cubicBezTo>
                <a:cubicBezTo>
                  <a:pt x="605" y="922"/>
                  <a:pt x="614" y="912"/>
                  <a:pt x="614" y="900"/>
                </a:cubicBezTo>
                <a:cubicBezTo>
                  <a:pt x="614" y="888"/>
                  <a:pt x="605" y="879"/>
                  <a:pt x="593" y="879"/>
                </a:cubicBezTo>
                <a:cubicBezTo>
                  <a:pt x="417" y="879"/>
                  <a:pt x="417" y="879"/>
                  <a:pt x="417" y="879"/>
                </a:cubicBezTo>
                <a:cubicBezTo>
                  <a:pt x="413" y="879"/>
                  <a:pt x="410" y="875"/>
                  <a:pt x="410" y="871"/>
                </a:cubicBezTo>
                <a:cubicBezTo>
                  <a:pt x="410" y="867"/>
                  <a:pt x="413" y="864"/>
                  <a:pt x="417" y="864"/>
                </a:cubicBezTo>
                <a:cubicBezTo>
                  <a:pt x="607" y="864"/>
                  <a:pt x="607" y="864"/>
                  <a:pt x="607" y="864"/>
                </a:cubicBezTo>
                <a:cubicBezTo>
                  <a:pt x="619" y="864"/>
                  <a:pt x="629" y="854"/>
                  <a:pt x="629" y="842"/>
                </a:cubicBezTo>
                <a:cubicBezTo>
                  <a:pt x="629" y="831"/>
                  <a:pt x="619" y="821"/>
                  <a:pt x="607" y="821"/>
                </a:cubicBezTo>
                <a:cubicBezTo>
                  <a:pt x="377" y="821"/>
                  <a:pt x="377" y="821"/>
                  <a:pt x="377" y="821"/>
                </a:cubicBezTo>
                <a:cubicBezTo>
                  <a:pt x="373" y="821"/>
                  <a:pt x="370" y="818"/>
                  <a:pt x="370" y="814"/>
                </a:cubicBezTo>
                <a:cubicBezTo>
                  <a:pt x="370" y="810"/>
                  <a:pt x="373" y="806"/>
                  <a:pt x="377" y="806"/>
                </a:cubicBezTo>
                <a:cubicBezTo>
                  <a:pt x="529" y="806"/>
                  <a:pt x="529" y="806"/>
                  <a:pt x="529" y="806"/>
                </a:cubicBezTo>
                <a:cubicBezTo>
                  <a:pt x="541" y="806"/>
                  <a:pt x="551" y="797"/>
                  <a:pt x="551" y="785"/>
                </a:cubicBezTo>
                <a:cubicBezTo>
                  <a:pt x="551" y="773"/>
                  <a:pt x="541" y="763"/>
                  <a:pt x="529" y="763"/>
                </a:cubicBezTo>
                <a:cubicBezTo>
                  <a:pt x="337" y="763"/>
                  <a:pt x="337" y="763"/>
                  <a:pt x="337" y="763"/>
                </a:cubicBezTo>
                <a:cubicBezTo>
                  <a:pt x="333" y="763"/>
                  <a:pt x="330" y="760"/>
                  <a:pt x="330" y="756"/>
                </a:cubicBezTo>
                <a:cubicBezTo>
                  <a:pt x="330" y="752"/>
                  <a:pt x="333" y="748"/>
                  <a:pt x="337" y="748"/>
                </a:cubicBezTo>
                <a:cubicBezTo>
                  <a:pt x="353" y="748"/>
                  <a:pt x="353" y="748"/>
                  <a:pt x="353" y="748"/>
                </a:cubicBezTo>
                <a:cubicBezTo>
                  <a:pt x="365" y="748"/>
                  <a:pt x="375" y="739"/>
                  <a:pt x="375" y="727"/>
                </a:cubicBezTo>
                <a:cubicBezTo>
                  <a:pt x="375" y="715"/>
                  <a:pt x="365" y="705"/>
                  <a:pt x="353" y="705"/>
                </a:cubicBezTo>
                <a:cubicBezTo>
                  <a:pt x="273" y="705"/>
                  <a:pt x="273" y="705"/>
                  <a:pt x="273" y="705"/>
                </a:cubicBezTo>
                <a:cubicBezTo>
                  <a:pt x="269" y="705"/>
                  <a:pt x="266" y="702"/>
                  <a:pt x="266" y="698"/>
                </a:cubicBezTo>
                <a:cubicBezTo>
                  <a:pt x="266" y="694"/>
                  <a:pt x="269" y="691"/>
                  <a:pt x="273" y="691"/>
                </a:cubicBezTo>
                <a:cubicBezTo>
                  <a:pt x="276" y="691"/>
                  <a:pt x="276" y="691"/>
                  <a:pt x="276" y="691"/>
                </a:cubicBezTo>
                <a:cubicBezTo>
                  <a:pt x="288" y="691"/>
                  <a:pt x="297" y="681"/>
                  <a:pt x="297" y="669"/>
                </a:cubicBezTo>
                <a:cubicBezTo>
                  <a:pt x="297" y="657"/>
                  <a:pt x="288" y="647"/>
                  <a:pt x="276" y="647"/>
                </a:cubicBezTo>
                <a:cubicBezTo>
                  <a:pt x="236" y="647"/>
                  <a:pt x="236" y="647"/>
                  <a:pt x="236" y="647"/>
                </a:cubicBezTo>
                <a:cubicBezTo>
                  <a:pt x="232" y="647"/>
                  <a:pt x="229" y="644"/>
                  <a:pt x="229" y="640"/>
                </a:cubicBezTo>
                <a:cubicBezTo>
                  <a:pt x="229" y="636"/>
                  <a:pt x="232" y="633"/>
                  <a:pt x="236" y="633"/>
                </a:cubicBezTo>
                <a:cubicBezTo>
                  <a:pt x="266" y="633"/>
                  <a:pt x="266" y="633"/>
                  <a:pt x="266" y="633"/>
                </a:cubicBezTo>
                <a:cubicBezTo>
                  <a:pt x="278" y="633"/>
                  <a:pt x="288" y="623"/>
                  <a:pt x="288" y="611"/>
                </a:cubicBezTo>
                <a:cubicBezTo>
                  <a:pt x="288" y="599"/>
                  <a:pt x="278" y="590"/>
                  <a:pt x="266" y="590"/>
                </a:cubicBezTo>
                <a:cubicBezTo>
                  <a:pt x="190" y="590"/>
                  <a:pt x="190" y="590"/>
                  <a:pt x="190" y="590"/>
                </a:cubicBezTo>
                <a:cubicBezTo>
                  <a:pt x="186" y="590"/>
                  <a:pt x="182" y="586"/>
                  <a:pt x="182" y="582"/>
                </a:cubicBezTo>
                <a:cubicBezTo>
                  <a:pt x="182" y="578"/>
                  <a:pt x="186" y="575"/>
                  <a:pt x="190" y="575"/>
                </a:cubicBezTo>
                <a:cubicBezTo>
                  <a:pt x="381" y="575"/>
                  <a:pt x="381" y="575"/>
                  <a:pt x="381" y="575"/>
                </a:cubicBezTo>
                <a:cubicBezTo>
                  <a:pt x="393" y="575"/>
                  <a:pt x="402" y="565"/>
                  <a:pt x="402" y="553"/>
                </a:cubicBezTo>
                <a:cubicBezTo>
                  <a:pt x="402" y="541"/>
                  <a:pt x="393" y="532"/>
                  <a:pt x="381" y="532"/>
                </a:cubicBezTo>
                <a:cubicBezTo>
                  <a:pt x="162" y="532"/>
                  <a:pt x="162" y="532"/>
                  <a:pt x="162" y="532"/>
                </a:cubicBezTo>
                <a:cubicBezTo>
                  <a:pt x="158" y="532"/>
                  <a:pt x="154" y="529"/>
                  <a:pt x="154" y="524"/>
                </a:cubicBezTo>
                <a:cubicBezTo>
                  <a:pt x="154" y="520"/>
                  <a:pt x="158" y="517"/>
                  <a:pt x="162" y="517"/>
                </a:cubicBezTo>
                <a:cubicBezTo>
                  <a:pt x="433" y="517"/>
                  <a:pt x="433" y="517"/>
                  <a:pt x="433" y="517"/>
                </a:cubicBezTo>
                <a:cubicBezTo>
                  <a:pt x="445" y="517"/>
                  <a:pt x="454" y="507"/>
                  <a:pt x="454" y="496"/>
                </a:cubicBezTo>
                <a:cubicBezTo>
                  <a:pt x="454" y="484"/>
                  <a:pt x="445" y="474"/>
                  <a:pt x="433" y="474"/>
                </a:cubicBezTo>
                <a:cubicBezTo>
                  <a:pt x="180" y="474"/>
                  <a:pt x="180" y="474"/>
                  <a:pt x="180" y="474"/>
                </a:cubicBezTo>
                <a:cubicBezTo>
                  <a:pt x="176" y="474"/>
                  <a:pt x="173" y="471"/>
                  <a:pt x="173" y="467"/>
                </a:cubicBezTo>
                <a:cubicBezTo>
                  <a:pt x="173" y="463"/>
                  <a:pt x="176" y="459"/>
                  <a:pt x="180" y="459"/>
                </a:cubicBezTo>
                <a:cubicBezTo>
                  <a:pt x="518" y="459"/>
                  <a:pt x="518" y="459"/>
                  <a:pt x="518" y="459"/>
                </a:cubicBezTo>
                <a:cubicBezTo>
                  <a:pt x="530" y="459"/>
                  <a:pt x="540" y="450"/>
                  <a:pt x="540" y="438"/>
                </a:cubicBezTo>
                <a:cubicBezTo>
                  <a:pt x="540" y="426"/>
                  <a:pt x="530" y="416"/>
                  <a:pt x="518" y="416"/>
                </a:cubicBezTo>
                <a:cubicBezTo>
                  <a:pt x="164" y="416"/>
                  <a:pt x="164" y="416"/>
                  <a:pt x="164" y="416"/>
                </a:cubicBezTo>
                <a:cubicBezTo>
                  <a:pt x="160" y="416"/>
                  <a:pt x="156" y="413"/>
                  <a:pt x="156" y="409"/>
                </a:cubicBezTo>
                <a:cubicBezTo>
                  <a:pt x="156" y="405"/>
                  <a:pt x="160" y="402"/>
                  <a:pt x="164" y="402"/>
                </a:cubicBezTo>
                <a:cubicBezTo>
                  <a:pt x="522" y="402"/>
                  <a:pt x="522" y="402"/>
                  <a:pt x="522" y="402"/>
                </a:cubicBezTo>
                <a:cubicBezTo>
                  <a:pt x="534" y="402"/>
                  <a:pt x="544" y="392"/>
                  <a:pt x="544" y="380"/>
                </a:cubicBezTo>
                <a:cubicBezTo>
                  <a:pt x="544" y="378"/>
                  <a:pt x="543" y="375"/>
                  <a:pt x="543" y="373"/>
                </a:cubicBezTo>
                <a:cubicBezTo>
                  <a:pt x="625" y="373"/>
                  <a:pt x="625" y="373"/>
                  <a:pt x="625" y="373"/>
                </a:cubicBezTo>
                <a:cubicBezTo>
                  <a:pt x="636" y="373"/>
                  <a:pt x="646" y="363"/>
                  <a:pt x="646" y="351"/>
                </a:cubicBezTo>
                <a:cubicBezTo>
                  <a:pt x="646" y="339"/>
                  <a:pt x="636" y="330"/>
                  <a:pt x="625" y="330"/>
                </a:cubicBezTo>
                <a:cubicBezTo>
                  <a:pt x="601" y="330"/>
                  <a:pt x="601" y="330"/>
                  <a:pt x="601" y="330"/>
                </a:cubicBezTo>
                <a:cubicBezTo>
                  <a:pt x="597" y="330"/>
                  <a:pt x="594" y="326"/>
                  <a:pt x="594" y="322"/>
                </a:cubicBezTo>
                <a:cubicBezTo>
                  <a:pt x="594" y="318"/>
                  <a:pt x="597" y="315"/>
                  <a:pt x="601" y="315"/>
                </a:cubicBezTo>
                <a:cubicBezTo>
                  <a:pt x="721" y="315"/>
                  <a:pt x="721" y="315"/>
                  <a:pt x="721" y="315"/>
                </a:cubicBezTo>
                <a:cubicBezTo>
                  <a:pt x="733" y="315"/>
                  <a:pt x="743" y="305"/>
                  <a:pt x="743" y="294"/>
                </a:cubicBezTo>
                <a:cubicBezTo>
                  <a:pt x="743" y="282"/>
                  <a:pt x="733" y="272"/>
                  <a:pt x="721" y="272"/>
                </a:cubicBezTo>
                <a:cubicBezTo>
                  <a:pt x="600" y="272"/>
                  <a:pt x="600" y="272"/>
                  <a:pt x="600" y="272"/>
                </a:cubicBezTo>
                <a:cubicBezTo>
                  <a:pt x="596" y="272"/>
                  <a:pt x="593" y="269"/>
                  <a:pt x="593" y="265"/>
                </a:cubicBezTo>
                <a:cubicBezTo>
                  <a:pt x="593" y="261"/>
                  <a:pt x="596" y="257"/>
                  <a:pt x="600" y="257"/>
                </a:cubicBezTo>
                <a:cubicBezTo>
                  <a:pt x="734" y="257"/>
                  <a:pt x="734" y="257"/>
                  <a:pt x="734" y="257"/>
                </a:cubicBezTo>
                <a:cubicBezTo>
                  <a:pt x="746" y="257"/>
                  <a:pt x="756" y="248"/>
                  <a:pt x="756" y="236"/>
                </a:cubicBezTo>
                <a:cubicBezTo>
                  <a:pt x="756" y="224"/>
                  <a:pt x="746" y="214"/>
                  <a:pt x="734" y="214"/>
                </a:cubicBezTo>
                <a:cubicBezTo>
                  <a:pt x="581" y="214"/>
                  <a:pt x="581" y="214"/>
                  <a:pt x="581" y="214"/>
                </a:cubicBezTo>
                <a:cubicBezTo>
                  <a:pt x="577" y="214"/>
                  <a:pt x="573" y="211"/>
                  <a:pt x="573" y="207"/>
                </a:cubicBezTo>
                <a:cubicBezTo>
                  <a:pt x="573" y="203"/>
                  <a:pt x="577" y="200"/>
                  <a:pt x="581" y="200"/>
                </a:cubicBezTo>
                <a:cubicBezTo>
                  <a:pt x="749" y="200"/>
                  <a:pt x="749" y="200"/>
                  <a:pt x="749" y="200"/>
                </a:cubicBezTo>
                <a:cubicBezTo>
                  <a:pt x="760" y="200"/>
                  <a:pt x="770" y="190"/>
                  <a:pt x="770" y="178"/>
                </a:cubicBezTo>
                <a:cubicBezTo>
                  <a:pt x="770" y="166"/>
                  <a:pt x="760" y="156"/>
                  <a:pt x="749" y="156"/>
                </a:cubicBezTo>
                <a:cubicBezTo>
                  <a:pt x="561" y="156"/>
                  <a:pt x="561" y="156"/>
                  <a:pt x="561" y="156"/>
                </a:cubicBezTo>
                <a:cubicBezTo>
                  <a:pt x="557" y="156"/>
                  <a:pt x="554" y="153"/>
                  <a:pt x="554" y="149"/>
                </a:cubicBezTo>
                <a:cubicBezTo>
                  <a:pt x="554" y="145"/>
                  <a:pt x="557" y="142"/>
                  <a:pt x="561" y="142"/>
                </a:cubicBezTo>
                <a:cubicBezTo>
                  <a:pt x="754" y="142"/>
                  <a:pt x="754" y="142"/>
                  <a:pt x="754" y="142"/>
                </a:cubicBezTo>
                <a:cubicBezTo>
                  <a:pt x="766" y="142"/>
                  <a:pt x="776" y="132"/>
                  <a:pt x="776" y="120"/>
                </a:cubicBezTo>
                <a:cubicBezTo>
                  <a:pt x="776" y="108"/>
                  <a:pt x="766" y="99"/>
                  <a:pt x="754" y="99"/>
                </a:cubicBezTo>
                <a:cubicBezTo>
                  <a:pt x="622" y="99"/>
                  <a:pt x="622" y="99"/>
                  <a:pt x="622" y="99"/>
                </a:cubicBezTo>
                <a:cubicBezTo>
                  <a:pt x="618" y="99"/>
                  <a:pt x="614" y="95"/>
                  <a:pt x="614" y="91"/>
                </a:cubicBezTo>
                <a:cubicBezTo>
                  <a:pt x="614" y="87"/>
                  <a:pt x="618" y="84"/>
                  <a:pt x="622" y="84"/>
                </a:cubicBezTo>
                <a:cubicBezTo>
                  <a:pt x="1237" y="84"/>
                  <a:pt x="1237" y="84"/>
                  <a:pt x="1237" y="84"/>
                </a:cubicBezTo>
                <a:cubicBezTo>
                  <a:pt x="1241" y="84"/>
                  <a:pt x="1244" y="87"/>
                  <a:pt x="1244" y="91"/>
                </a:cubicBezTo>
                <a:cubicBezTo>
                  <a:pt x="1244" y="95"/>
                  <a:pt x="1241" y="99"/>
                  <a:pt x="1237" y="99"/>
                </a:cubicBezTo>
                <a:cubicBezTo>
                  <a:pt x="1225" y="99"/>
                  <a:pt x="1225" y="99"/>
                  <a:pt x="1225" y="99"/>
                </a:cubicBezTo>
                <a:cubicBezTo>
                  <a:pt x="1213" y="99"/>
                  <a:pt x="1203" y="108"/>
                  <a:pt x="1203" y="120"/>
                </a:cubicBezTo>
                <a:cubicBezTo>
                  <a:pt x="1203" y="132"/>
                  <a:pt x="1213" y="142"/>
                  <a:pt x="1225" y="142"/>
                </a:cubicBezTo>
                <a:cubicBezTo>
                  <a:pt x="1693" y="142"/>
                  <a:pt x="1693" y="142"/>
                  <a:pt x="1693" y="142"/>
                </a:cubicBezTo>
                <a:cubicBezTo>
                  <a:pt x="1697" y="142"/>
                  <a:pt x="1701" y="145"/>
                  <a:pt x="1701" y="149"/>
                </a:cubicBezTo>
                <a:cubicBezTo>
                  <a:pt x="1701" y="153"/>
                  <a:pt x="1697" y="156"/>
                  <a:pt x="1693" y="156"/>
                </a:cubicBezTo>
                <a:cubicBezTo>
                  <a:pt x="1075" y="156"/>
                  <a:pt x="1075" y="156"/>
                  <a:pt x="1075" y="156"/>
                </a:cubicBezTo>
                <a:cubicBezTo>
                  <a:pt x="1063" y="156"/>
                  <a:pt x="1054" y="166"/>
                  <a:pt x="1054" y="178"/>
                </a:cubicBezTo>
                <a:cubicBezTo>
                  <a:pt x="1054" y="190"/>
                  <a:pt x="1063" y="200"/>
                  <a:pt x="1075" y="200"/>
                </a:cubicBezTo>
                <a:cubicBezTo>
                  <a:pt x="1686" y="200"/>
                  <a:pt x="1686" y="200"/>
                  <a:pt x="1686" y="200"/>
                </a:cubicBezTo>
                <a:cubicBezTo>
                  <a:pt x="1690" y="200"/>
                  <a:pt x="1693" y="203"/>
                  <a:pt x="1693" y="207"/>
                </a:cubicBezTo>
                <a:cubicBezTo>
                  <a:pt x="1693" y="211"/>
                  <a:pt x="1690" y="214"/>
                  <a:pt x="1686" y="214"/>
                </a:cubicBezTo>
                <a:cubicBezTo>
                  <a:pt x="1145" y="214"/>
                  <a:pt x="1145" y="214"/>
                  <a:pt x="1145" y="214"/>
                </a:cubicBezTo>
                <a:cubicBezTo>
                  <a:pt x="1133" y="214"/>
                  <a:pt x="1123" y="224"/>
                  <a:pt x="1123" y="236"/>
                </a:cubicBezTo>
                <a:cubicBezTo>
                  <a:pt x="1123" y="248"/>
                  <a:pt x="1133" y="257"/>
                  <a:pt x="1145" y="257"/>
                </a:cubicBezTo>
                <a:cubicBezTo>
                  <a:pt x="1683" y="257"/>
                  <a:pt x="1683" y="257"/>
                  <a:pt x="1683" y="257"/>
                </a:cubicBezTo>
                <a:cubicBezTo>
                  <a:pt x="1687" y="257"/>
                  <a:pt x="1691" y="261"/>
                  <a:pt x="1691" y="265"/>
                </a:cubicBezTo>
                <a:cubicBezTo>
                  <a:pt x="1691" y="269"/>
                  <a:pt x="1687" y="272"/>
                  <a:pt x="1683" y="272"/>
                </a:cubicBezTo>
                <a:cubicBezTo>
                  <a:pt x="940" y="272"/>
                  <a:pt x="940" y="272"/>
                  <a:pt x="940" y="272"/>
                </a:cubicBezTo>
                <a:cubicBezTo>
                  <a:pt x="929" y="272"/>
                  <a:pt x="919" y="282"/>
                  <a:pt x="919" y="294"/>
                </a:cubicBezTo>
                <a:cubicBezTo>
                  <a:pt x="919" y="305"/>
                  <a:pt x="929" y="315"/>
                  <a:pt x="940" y="315"/>
                </a:cubicBezTo>
                <a:cubicBezTo>
                  <a:pt x="1553" y="315"/>
                  <a:pt x="1553" y="315"/>
                  <a:pt x="1553" y="315"/>
                </a:cubicBezTo>
                <a:cubicBezTo>
                  <a:pt x="1557" y="315"/>
                  <a:pt x="1561" y="318"/>
                  <a:pt x="1561" y="322"/>
                </a:cubicBezTo>
                <a:cubicBezTo>
                  <a:pt x="1561" y="326"/>
                  <a:pt x="1557" y="330"/>
                  <a:pt x="1553" y="330"/>
                </a:cubicBezTo>
                <a:cubicBezTo>
                  <a:pt x="888" y="330"/>
                  <a:pt x="888" y="330"/>
                  <a:pt x="888" y="330"/>
                </a:cubicBezTo>
                <a:cubicBezTo>
                  <a:pt x="876" y="330"/>
                  <a:pt x="867" y="339"/>
                  <a:pt x="867" y="351"/>
                </a:cubicBezTo>
                <a:cubicBezTo>
                  <a:pt x="867" y="354"/>
                  <a:pt x="867" y="356"/>
                  <a:pt x="868" y="358"/>
                </a:cubicBezTo>
                <a:close/>
              </a:path>
            </a:pathLst>
          </a:custGeom>
          <a:solidFill>
            <a:schemeClr val="tx1">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Oval 6"/>
          <p:cNvSpPr/>
          <p:nvPr/>
        </p:nvSpPr>
        <p:spPr bwMode="auto">
          <a:xfrm>
            <a:off x="4143623" y="3211714"/>
            <a:ext cx="1074821" cy="1074821"/>
          </a:xfrm>
          <a:prstGeom prst="ellipse">
            <a:avLst/>
          </a:prstGeom>
          <a:solidFill>
            <a:srgbClr val="0078D7">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Oval 21"/>
          <p:cNvSpPr/>
          <p:nvPr/>
        </p:nvSpPr>
        <p:spPr bwMode="auto">
          <a:xfrm>
            <a:off x="2176474" y="5035068"/>
            <a:ext cx="404797" cy="404797"/>
          </a:xfrm>
          <a:prstGeom prst="ellipse">
            <a:avLst/>
          </a:prstGeom>
          <a:solidFill>
            <a:srgbClr val="0078D7">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Oval 29"/>
          <p:cNvSpPr/>
          <p:nvPr/>
        </p:nvSpPr>
        <p:spPr bwMode="auto">
          <a:xfrm>
            <a:off x="734308" y="4105964"/>
            <a:ext cx="632986" cy="632986"/>
          </a:xfrm>
          <a:prstGeom prst="ellipse">
            <a:avLst/>
          </a:prstGeom>
          <a:solidFill>
            <a:srgbClr val="0078D7">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Oval 30"/>
          <p:cNvSpPr/>
          <p:nvPr/>
        </p:nvSpPr>
        <p:spPr bwMode="auto">
          <a:xfrm>
            <a:off x="1033864" y="4307289"/>
            <a:ext cx="632986" cy="632986"/>
          </a:xfrm>
          <a:prstGeom prst="ellipse">
            <a:avLst/>
          </a:prstGeom>
          <a:solidFill>
            <a:srgbClr val="0078D7">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Oval 31"/>
          <p:cNvSpPr/>
          <p:nvPr/>
        </p:nvSpPr>
        <p:spPr bwMode="auto">
          <a:xfrm>
            <a:off x="1420875" y="4053156"/>
            <a:ext cx="812319" cy="812319"/>
          </a:xfrm>
          <a:prstGeom prst="ellipse">
            <a:avLst/>
          </a:prstGeom>
          <a:solidFill>
            <a:srgbClr val="0078D7">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Oval 32"/>
          <p:cNvSpPr/>
          <p:nvPr/>
        </p:nvSpPr>
        <p:spPr bwMode="auto">
          <a:xfrm>
            <a:off x="1420875" y="4916773"/>
            <a:ext cx="404797" cy="404797"/>
          </a:xfrm>
          <a:prstGeom prst="ellipse">
            <a:avLst/>
          </a:prstGeom>
          <a:solidFill>
            <a:srgbClr val="0078D7">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Oval 33"/>
          <p:cNvSpPr/>
          <p:nvPr/>
        </p:nvSpPr>
        <p:spPr bwMode="auto">
          <a:xfrm>
            <a:off x="5016045" y="4928749"/>
            <a:ext cx="708298" cy="708298"/>
          </a:xfrm>
          <a:prstGeom prst="ellipse">
            <a:avLst/>
          </a:prstGeom>
          <a:solidFill>
            <a:srgbClr val="0078D7">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Oval 34"/>
          <p:cNvSpPr/>
          <p:nvPr/>
        </p:nvSpPr>
        <p:spPr bwMode="auto">
          <a:xfrm>
            <a:off x="2761815" y="3702157"/>
            <a:ext cx="708298" cy="708298"/>
          </a:xfrm>
          <a:prstGeom prst="ellipse">
            <a:avLst/>
          </a:prstGeom>
          <a:solidFill>
            <a:srgbClr val="0078D7">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Oval 35"/>
          <p:cNvSpPr/>
          <p:nvPr/>
        </p:nvSpPr>
        <p:spPr bwMode="auto">
          <a:xfrm>
            <a:off x="3185838" y="4079314"/>
            <a:ext cx="555898" cy="555898"/>
          </a:xfrm>
          <a:prstGeom prst="ellipse">
            <a:avLst/>
          </a:prstGeom>
          <a:solidFill>
            <a:srgbClr val="0078D7">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Oval 36"/>
          <p:cNvSpPr/>
          <p:nvPr/>
        </p:nvSpPr>
        <p:spPr bwMode="auto">
          <a:xfrm>
            <a:off x="3865674" y="3471175"/>
            <a:ext cx="555898" cy="555898"/>
          </a:xfrm>
          <a:prstGeom prst="ellipse">
            <a:avLst/>
          </a:prstGeom>
          <a:solidFill>
            <a:srgbClr val="0078D7">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Oval 37"/>
          <p:cNvSpPr/>
          <p:nvPr/>
        </p:nvSpPr>
        <p:spPr bwMode="auto">
          <a:xfrm>
            <a:off x="3572460" y="3877373"/>
            <a:ext cx="679146" cy="679146"/>
          </a:xfrm>
          <a:prstGeom prst="ellipse">
            <a:avLst/>
          </a:prstGeom>
          <a:solidFill>
            <a:srgbClr val="0078D7">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Box 3"/>
          <p:cNvSpPr txBox="1"/>
          <p:nvPr/>
        </p:nvSpPr>
        <p:spPr>
          <a:xfrm>
            <a:off x="620946" y="1811930"/>
            <a:ext cx="5241972" cy="960263"/>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t>Cyberattacks are a </a:t>
            </a:r>
            <a:r>
              <a:rPr lang="en-US" sz="2400" dirty="0">
                <a:solidFill>
                  <a:schemeClr val="accent2"/>
                </a:solidFill>
              </a:rPr>
              <a:t>global problem </a:t>
            </a:r>
            <a:r>
              <a:rPr lang="en-US" sz="2400" dirty="0"/>
              <a:t>and expand across </a:t>
            </a:r>
            <a:r>
              <a:rPr lang="en-US" sz="2400" dirty="0">
                <a:solidFill>
                  <a:schemeClr val="accent2"/>
                </a:solidFill>
              </a:rPr>
              <a:t>all industries</a:t>
            </a:r>
          </a:p>
        </p:txBody>
      </p:sp>
    </p:spTree>
    <p:extLst>
      <p:ext uri="{BB962C8B-B14F-4D97-AF65-F5344CB8AC3E}">
        <p14:creationId xmlns:p14="http://schemas.microsoft.com/office/powerpoint/2010/main" val="28475019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grpId="0"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circle(out)">
                                      <p:cBhvr>
                                        <p:cTn id="7" dur="2000"/>
                                        <p:tgtEl>
                                          <p:spTgt spid="30"/>
                                        </p:tgtEl>
                                      </p:cBhvr>
                                    </p:animEffect>
                                  </p:childTnLst>
                                </p:cTn>
                              </p:par>
                              <p:par>
                                <p:cTn id="8" presetID="6" presetClass="entr" presetSubtype="32"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circle(out)">
                                      <p:cBhvr>
                                        <p:cTn id="10" dur="2000"/>
                                        <p:tgtEl>
                                          <p:spTgt spid="31"/>
                                        </p:tgtEl>
                                      </p:cBhvr>
                                    </p:animEffect>
                                  </p:childTnLst>
                                </p:cTn>
                              </p:par>
                              <p:par>
                                <p:cTn id="11" presetID="6" presetClass="entr" presetSubtype="32"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circle(out)">
                                      <p:cBhvr>
                                        <p:cTn id="13" dur="2000"/>
                                        <p:tgtEl>
                                          <p:spTgt spid="33"/>
                                        </p:tgtEl>
                                      </p:cBhvr>
                                    </p:animEffect>
                                  </p:childTnLst>
                                </p:cTn>
                              </p:par>
                              <p:par>
                                <p:cTn id="14" presetID="6" presetClass="entr" presetSubtype="32" fill="hold" grpId="0" nodeType="with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circle(out)">
                                      <p:cBhvr>
                                        <p:cTn id="16" dur="2000"/>
                                        <p:tgtEl>
                                          <p:spTgt spid="22"/>
                                        </p:tgtEl>
                                      </p:cBhvr>
                                    </p:animEffect>
                                  </p:childTnLst>
                                </p:cTn>
                              </p:par>
                              <p:par>
                                <p:cTn id="17" presetID="6" presetClass="entr" presetSubtype="32"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circle(out)">
                                      <p:cBhvr>
                                        <p:cTn id="19" dur="2000"/>
                                        <p:tgtEl>
                                          <p:spTgt spid="35"/>
                                        </p:tgtEl>
                                      </p:cBhvr>
                                    </p:animEffect>
                                  </p:childTnLst>
                                </p:cTn>
                              </p:par>
                              <p:par>
                                <p:cTn id="20" presetID="6" presetClass="entr" presetSubtype="32"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circle(out)">
                                      <p:cBhvr>
                                        <p:cTn id="22" dur="2000"/>
                                        <p:tgtEl>
                                          <p:spTgt spid="38"/>
                                        </p:tgtEl>
                                      </p:cBhvr>
                                    </p:animEffect>
                                  </p:childTnLst>
                                </p:cTn>
                              </p:par>
                              <p:par>
                                <p:cTn id="23" presetID="6" presetClass="entr" presetSubtype="32" fill="hold" grpId="0" nodeType="withEffect">
                                  <p:stCondLst>
                                    <p:cond delay="0"/>
                                  </p:stCondLst>
                                  <p:childTnLst>
                                    <p:set>
                                      <p:cBhvr>
                                        <p:cTn id="24" dur="1" fill="hold">
                                          <p:stCondLst>
                                            <p:cond delay="0"/>
                                          </p:stCondLst>
                                        </p:cTn>
                                        <p:tgtEl>
                                          <p:spTgt spid="36"/>
                                        </p:tgtEl>
                                        <p:attrNameLst>
                                          <p:attrName>style.visibility</p:attrName>
                                        </p:attrNameLst>
                                      </p:cBhvr>
                                      <p:to>
                                        <p:strVal val="visible"/>
                                      </p:to>
                                    </p:set>
                                    <p:animEffect transition="in" filter="circle(out)">
                                      <p:cBhvr>
                                        <p:cTn id="25" dur="2000"/>
                                        <p:tgtEl>
                                          <p:spTgt spid="36"/>
                                        </p:tgtEl>
                                      </p:cBhvr>
                                    </p:animEffect>
                                  </p:childTnLst>
                                </p:cTn>
                              </p:par>
                              <p:par>
                                <p:cTn id="26" presetID="6" presetClass="entr" presetSubtype="32" fill="hold" grpId="0" nodeType="with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circle(out)">
                                      <p:cBhvr>
                                        <p:cTn id="28" dur="2000"/>
                                        <p:tgtEl>
                                          <p:spTgt spid="37"/>
                                        </p:tgtEl>
                                      </p:cBhvr>
                                    </p:animEffect>
                                  </p:childTnLst>
                                </p:cTn>
                              </p:par>
                              <p:par>
                                <p:cTn id="29" presetID="6" presetClass="entr" presetSubtype="32" fill="hold" grpId="0" nodeType="with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circle(out)">
                                      <p:cBhvr>
                                        <p:cTn id="31" dur="2000"/>
                                        <p:tgtEl>
                                          <p:spTgt spid="7"/>
                                        </p:tgtEl>
                                      </p:cBhvr>
                                    </p:animEffect>
                                  </p:childTnLst>
                                </p:cTn>
                              </p:par>
                              <p:par>
                                <p:cTn id="32" presetID="6" presetClass="entr" presetSubtype="32" fill="hold" grpId="0" nodeType="withEffect">
                                  <p:stCondLst>
                                    <p:cond delay="0"/>
                                  </p:stCondLst>
                                  <p:childTnLst>
                                    <p:set>
                                      <p:cBhvr>
                                        <p:cTn id="33" dur="1" fill="hold">
                                          <p:stCondLst>
                                            <p:cond delay="0"/>
                                          </p:stCondLst>
                                        </p:cTn>
                                        <p:tgtEl>
                                          <p:spTgt spid="34"/>
                                        </p:tgtEl>
                                        <p:attrNameLst>
                                          <p:attrName>style.visibility</p:attrName>
                                        </p:attrNameLst>
                                      </p:cBhvr>
                                      <p:to>
                                        <p:strVal val="visible"/>
                                      </p:to>
                                    </p:set>
                                    <p:animEffect transition="in" filter="circle(out)">
                                      <p:cBhvr>
                                        <p:cTn id="34" dur="2000"/>
                                        <p:tgtEl>
                                          <p:spTgt spid="34"/>
                                        </p:tgtEl>
                                      </p:cBhvr>
                                    </p:animEffect>
                                  </p:childTnLst>
                                </p:cTn>
                              </p:par>
                              <p:par>
                                <p:cTn id="35" presetID="6" presetClass="entr" presetSubtype="32" fill="hold" grpId="0" nodeType="with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circle(out)">
                                      <p:cBhvr>
                                        <p:cTn id="37" dur="20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2" grpId="0" animBg="1"/>
      <p:bldP spid="30" grpId="0" animBg="1"/>
      <p:bldP spid="31" grpId="0" animBg="1"/>
      <p:bldP spid="32" grpId="0" animBg="1"/>
      <p:bldP spid="33" grpId="0" animBg="1"/>
      <p:bldP spid="34" grpId="0" animBg="1"/>
      <p:bldP spid="35" grpId="0" animBg="1"/>
      <p:bldP spid="36" grpId="0" animBg="1"/>
      <p:bldP spid="37" grpId="0" animBg="1"/>
      <p:bldP spid="3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a:off x="0" y="1206749"/>
            <a:ext cx="12192000" cy="56512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0" y="307084"/>
            <a:ext cx="11655840" cy="899665"/>
          </a:xfrm>
        </p:spPr>
        <p:txBody>
          <a:bodyPr/>
          <a:lstStyle/>
          <a:p>
            <a:r>
              <a:rPr lang="en-US" sz="4800" dirty="0"/>
              <a:t>This is happening everyday, everywhere</a:t>
            </a:r>
            <a:endParaRPr lang="en-US" dirty="0"/>
          </a:p>
        </p:txBody>
      </p:sp>
      <p:pic>
        <p:nvPicPr>
          <p:cNvPr id="11" name="Picture 10"/>
          <p:cNvPicPr>
            <a:picLocks noChangeAspect="1"/>
          </p:cNvPicPr>
          <p:nvPr/>
        </p:nvPicPr>
        <p:blipFill>
          <a:blip r:embed="rId3"/>
          <a:stretch>
            <a:fillRect/>
          </a:stretch>
        </p:blipFill>
        <p:spPr>
          <a:xfrm>
            <a:off x="937304" y="1438926"/>
            <a:ext cx="6277571" cy="3348038"/>
          </a:xfrm>
          <a:prstGeom prst="rect">
            <a:avLst/>
          </a:prstGeom>
          <a:ln w="19050">
            <a:solidFill>
              <a:schemeClr val="tx2"/>
            </a:solidFill>
          </a:ln>
        </p:spPr>
      </p:pic>
      <p:pic>
        <p:nvPicPr>
          <p:cNvPr id="12" name="Picture 11"/>
          <p:cNvPicPr>
            <a:picLocks noChangeAspect="1"/>
          </p:cNvPicPr>
          <p:nvPr/>
        </p:nvPicPr>
        <p:blipFill>
          <a:blip r:embed="rId4"/>
          <a:stretch>
            <a:fillRect/>
          </a:stretch>
        </p:blipFill>
        <p:spPr>
          <a:xfrm>
            <a:off x="5636506" y="1752791"/>
            <a:ext cx="5531872" cy="3553486"/>
          </a:xfrm>
          <a:prstGeom prst="rect">
            <a:avLst/>
          </a:prstGeom>
          <a:ln w="19050">
            <a:solidFill>
              <a:schemeClr val="tx2"/>
            </a:solidFill>
          </a:ln>
        </p:spPr>
      </p:pic>
      <p:pic>
        <p:nvPicPr>
          <p:cNvPr id="13" name="Picture 12"/>
          <p:cNvPicPr>
            <a:picLocks noChangeAspect="1"/>
          </p:cNvPicPr>
          <p:nvPr/>
        </p:nvPicPr>
        <p:blipFill>
          <a:blip r:embed="rId5"/>
          <a:stretch>
            <a:fillRect/>
          </a:stretch>
        </p:blipFill>
        <p:spPr>
          <a:xfrm>
            <a:off x="3037761" y="4475285"/>
            <a:ext cx="3348038" cy="1567491"/>
          </a:xfrm>
          <a:prstGeom prst="rect">
            <a:avLst/>
          </a:prstGeom>
          <a:ln>
            <a:solidFill>
              <a:schemeClr val="tx2"/>
            </a:solidFill>
          </a:ln>
        </p:spPr>
      </p:pic>
      <p:pic>
        <p:nvPicPr>
          <p:cNvPr id="15" name="Picture 14"/>
          <p:cNvPicPr>
            <a:picLocks noChangeAspect="1"/>
          </p:cNvPicPr>
          <p:nvPr/>
        </p:nvPicPr>
        <p:blipFill>
          <a:blip r:embed="rId6"/>
          <a:stretch>
            <a:fillRect/>
          </a:stretch>
        </p:blipFill>
        <p:spPr>
          <a:xfrm>
            <a:off x="1222708" y="4238309"/>
            <a:ext cx="6110169" cy="1468571"/>
          </a:xfrm>
          <a:prstGeom prst="rect">
            <a:avLst/>
          </a:prstGeom>
          <a:ln>
            <a:solidFill>
              <a:schemeClr val="tx2"/>
            </a:solidFill>
          </a:ln>
        </p:spPr>
      </p:pic>
      <p:pic>
        <p:nvPicPr>
          <p:cNvPr id="3" name="Picture 2"/>
          <p:cNvPicPr>
            <a:picLocks noChangeAspect="1"/>
          </p:cNvPicPr>
          <p:nvPr/>
        </p:nvPicPr>
        <p:blipFill>
          <a:blip r:embed="rId7"/>
          <a:stretch>
            <a:fillRect/>
          </a:stretch>
        </p:blipFill>
        <p:spPr>
          <a:xfrm>
            <a:off x="700938" y="2812850"/>
            <a:ext cx="7305675" cy="1449796"/>
          </a:xfrm>
          <a:prstGeom prst="rect">
            <a:avLst/>
          </a:prstGeom>
          <a:ln>
            <a:solidFill>
              <a:schemeClr val="tx2"/>
            </a:solidFill>
          </a:ln>
        </p:spPr>
      </p:pic>
      <p:pic>
        <p:nvPicPr>
          <p:cNvPr id="16" name="Picture 15"/>
          <p:cNvPicPr>
            <a:picLocks noChangeAspect="1"/>
          </p:cNvPicPr>
          <p:nvPr/>
        </p:nvPicPr>
        <p:blipFill>
          <a:blip r:embed="rId8"/>
          <a:stretch>
            <a:fillRect/>
          </a:stretch>
        </p:blipFill>
        <p:spPr>
          <a:xfrm>
            <a:off x="6157675" y="4660981"/>
            <a:ext cx="4725299" cy="1346824"/>
          </a:xfrm>
          <a:prstGeom prst="rect">
            <a:avLst/>
          </a:prstGeom>
          <a:ln>
            <a:solidFill>
              <a:schemeClr val="tx2"/>
            </a:solidFill>
          </a:ln>
        </p:spPr>
      </p:pic>
      <p:pic>
        <p:nvPicPr>
          <p:cNvPr id="4" name="Picture 3"/>
          <p:cNvPicPr>
            <a:picLocks noChangeAspect="1"/>
          </p:cNvPicPr>
          <p:nvPr/>
        </p:nvPicPr>
        <p:blipFill>
          <a:blip r:embed="rId9"/>
          <a:stretch>
            <a:fillRect/>
          </a:stretch>
        </p:blipFill>
        <p:spPr>
          <a:xfrm>
            <a:off x="629070" y="4509493"/>
            <a:ext cx="9788812" cy="1806207"/>
          </a:xfrm>
          <a:prstGeom prst="rect">
            <a:avLst/>
          </a:prstGeom>
          <a:ln>
            <a:solidFill>
              <a:schemeClr val="tx2"/>
            </a:solidFill>
          </a:ln>
        </p:spPr>
      </p:pic>
      <p:pic>
        <p:nvPicPr>
          <p:cNvPr id="5" name="Picture 4"/>
          <p:cNvPicPr>
            <a:picLocks noChangeAspect="1"/>
          </p:cNvPicPr>
          <p:nvPr/>
        </p:nvPicPr>
        <p:blipFill>
          <a:blip r:embed="rId10"/>
          <a:stretch>
            <a:fillRect/>
          </a:stretch>
        </p:blipFill>
        <p:spPr>
          <a:xfrm>
            <a:off x="2377413" y="1414320"/>
            <a:ext cx="8790965" cy="1710416"/>
          </a:xfrm>
          <a:prstGeom prst="rect">
            <a:avLst/>
          </a:prstGeom>
          <a:ln>
            <a:solidFill>
              <a:schemeClr val="tx2"/>
            </a:solidFill>
          </a:ln>
        </p:spPr>
      </p:pic>
      <p:pic>
        <p:nvPicPr>
          <p:cNvPr id="6" name="Picture 5"/>
          <p:cNvPicPr>
            <a:picLocks noChangeAspect="1"/>
          </p:cNvPicPr>
          <p:nvPr/>
        </p:nvPicPr>
        <p:blipFill>
          <a:blip r:embed="rId11"/>
          <a:stretch>
            <a:fillRect/>
          </a:stretch>
        </p:blipFill>
        <p:spPr>
          <a:xfrm>
            <a:off x="1053677" y="3434012"/>
            <a:ext cx="5953125" cy="1476375"/>
          </a:xfrm>
          <a:prstGeom prst="rect">
            <a:avLst/>
          </a:prstGeom>
          <a:ln>
            <a:solidFill>
              <a:schemeClr val="tx2"/>
            </a:solidFill>
          </a:ln>
        </p:spPr>
      </p:pic>
      <p:pic>
        <p:nvPicPr>
          <p:cNvPr id="7" name="Picture 6"/>
          <p:cNvPicPr>
            <a:picLocks noChangeAspect="1"/>
          </p:cNvPicPr>
          <p:nvPr/>
        </p:nvPicPr>
        <p:blipFill>
          <a:blip r:embed="rId12"/>
          <a:stretch>
            <a:fillRect/>
          </a:stretch>
        </p:blipFill>
        <p:spPr>
          <a:xfrm>
            <a:off x="4796516" y="4100833"/>
            <a:ext cx="6019800" cy="1514475"/>
          </a:xfrm>
          <a:prstGeom prst="rect">
            <a:avLst/>
          </a:prstGeom>
          <a:ln>
            <a:solidFill>
              <a:schemeClr val="tx2"/>
            </a:solidFill>
          </a:ln>
        </p:spPr>
      </p:pic>
      <p:pic>
        <p:nvPicPr>
          <p:cNvPr id="8" name="Picture 7"/>
          <p:cNvPicPr>
            <a:picLocks noChangeAspect="1"/>
          </p:cNvPicPr>
          <p:nvPr/>
        </p:nvPicPr>
        <p:blipFill>
          <a:blip r:embed="rId13"/>
          <a:stretch>
            <a:fillRect/>
          </a:stretch>
        </p:blipFill>
        <p:spPr>
          <a:xfrm>
            <a:off x="952431" y="2000078"/>
            <a:ext cx="5905500" cy="1485900"/>
          </a:xfrm>
          <a:prstGeom prst="rect">
            <a:avLst/>
          </a:prstGeom>
          <a:ln>
            <a:solidFill>
              <a:schemeClr val="tx2"/>
            </a:solidFill>
          </a:ln>
        </p:spPr>
      </p:pic>
      <p:pic>
        <p:nvPicPr>
          <p:cNvPr id="9" name="Picture 8"/>
          <p:cNvPicPr>
            <a:picLocks noChangeAspect="1"/>
          </p:cNvPicPr>
          <p:nvPr/>
        </p:nvPicPr>
        <p:blipFill>
          <a:blip r:embed="rId14"/>
          <a:stretch>
            <a:fillRect/>
          </a:stretch>
        </p:blipFill>
        <p:spPr>
          <a:xfrm>
            <a:off x="3783004" y="2279538"/>
            <a:ext cx="7220395" cy="1813819"/>
          </a:xfrm>
          <a:prstGeom prst="rect">
            <a:avLst/>
          </a:prstGeom>
          <a:ln>
            <a:solidFill>
              <a:schemeClr val="tx2"/>
            </a:solidFill>
          </a:ln>
        </p:spPr>
      </p:pic>
      <p:pic>
        <p:nvPicPr>
          <p:cNvPr id="10" name="Picture 9"/>
          <p:cNvPicPr>
            <a:picLocks noChangeAspect="1"/>
          </p:cNvPicPr>
          <p:nvPr/>
        </p:nvPicPr>
        <p:blipFill>
          <a:blip r:embed="rId15"/>
          <a:stretch>
            <a:fillRect/>
          </a:stretch>
        </p:blipFill>
        <p:spPr>
          <a:xfrm>
            <a:off x="3687897" y="4394363"/>
            <a:ext cx="7200900" cy="1457325"/>
          </a:xfrm>
          <a:prstGeom prst="rect">
            <a:avLst/>
          </a:prstGeom>
          <a:ln>
            <a:solidFill>
              <a:schemeClr val="tx2"/>
            </a:solidFill>
          </a:ln>
        </p:spPr>
      </p:pic>
      <p:pic>
        <p:nvPicPr>
          <p:cNvPr id="18" name="Picture 17"/>
          <p:cNvPicPr>
            <a:picLocks noChangeAspect="1"/>
          </p:cNvPicPr>
          <p:nvPr/>
        </p:nvPicPr>
        <p:blipFill>
          <a:blip r:embed="rId16"/>
          <a:stretch>
            <a:fillRect/>
          </a:stretch>
        </p:blipFill>
        <p:spPr>
          <a:xfrm>
            <a:off x="1004267" y="3828329"/>
            <a:ext cx="4871863" cy="2014680"/>
          </a:xfrm>
          <a:prstGeom prst="rect">
            <a:avLst/>
          </a:prstGeom>
          <a:ln>
            <a:solidFill>
              <a:schemeClr val="tx2"/>
            </a:solidFill>
          </a:ln>
        </p:spPr>
      </p:pic>
      <p:pic>
        <p:nvPicPr>
          <p:cNvPr id="14" name="Picture 13"/>
          <p:cNvPicPr>
            <a:picLocks noChangeAspect="1"/>
          </p:cNvPicPr>
          <p:nvPr/>
        </p:nvPicPr>
        <p:blipFill>
          <a:blip r:embed="rId17"/>
          <a:stretch>
            <a:fillRect/>
          </a:stretch>
        </p:blipFill>
        <p:spPr>
          <a:xfrm>
            <a:off x="1711459" y="1812011"/>
            <a:ext cx="3952875" cy="1304925"/>
          </a:xfrm>
          <a:prstGeom prst="rect">
            <a:avLst/>
          </a:prstGeom>
          <a:ln>
            <a:solidFill>
              <a:schemeClr val="accent1"/>
            </a:solidFill>
          </a:ln>
        </p:spPr>
      </p:pic>
    </p:spTree>
    <p:extLst>
      <p:ext uri="{BB962C8B-B14F-4D97-AF65-F5344CB8AC3E}">
        <p14:creationId xmlns:p14="http://schemas.microsoft.com/office/powerpoint/2010/main" val="323506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5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750"/>
                            </p:stCondLst>
                            <p:childTnLst>
                              <p:par>
                                <p:cTn id="9" presetID="10" presetClass="entr" presetSubtype="0" fill="hold" nodeType="afterEffect">
                                  <p:stCondLst>
                                    <p:cond delay="25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childTnLst>
                          </p:cTn>
                        </p:par>
                        <p:par>
                          <p:cTn id="12" fill="hold">
                            <p:stCondLst>
                              <p:cond delay="1500"/>
                            </p:stCondLst>
                            <p:childTnLst>
                              <p:par>
                                <p:cTn id="13" presetID="10" presetClass="entr" presetSubtype="0" fill="hold" nodeType="afterEffect">
                                  <p:stCondLst>
                                    <p:cond delay="25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childTnLst>
                          </p:cTn>
                        </p:par>
                        <p:par>
                          <p:cTn id="16" fill="hold">
                            <p:stCondLst>
                              <p:cond delay="2250"/>
                            </p:stCondLst>
                            <p:childTnLst>
                              <p:par>
                                <p:cTn id="17" presetID="10" presetClass="entr" presetSubtype="0" fill="hold" nodeType="afterEffect">
                                  <p:stCondLst>
                                    <p:cond delay="25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3000"/>
                            </p:stCondLst>
                            <p:childTnLst>
                              <p:par>
                                <p:cTn id="21" presetID="10" presetClass="entr" presetSubtype="0" fill="hold" nodeType="afterEffect">
                                  <p:stCondLst>
                                    <p:cond delay="25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par>
                          <p:cTn id="24" fill="hold">
                            <p:stCondLst>
                              <p:cond delay="3750"/>
                            </p:stCondLst>
                            <p:childTnLst>
                              <p:par>
                                <p:cTn id="25" presetID="10" presetClass="entr" presetSubtype="0" fill="hold" nodeType="afterEffect">
                                  <p:stCondLst>
                                    <p:cond delay="25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childTnLst>
                          </p:cTn>
                        </p:par>
                        <p:par>
                          <p:cTn id="28" fill="hold">
                            <p:stCondLst>
                              <p:cond delay="4500"/>
                            </p:stCondLst>
                            <p:childTnLst>
                              <p:par>
                                <p:cTn id="29" presetID="10" presetClass="entr" presetSubtype="0" fill="hold" nodeType="afterEffect">
                                  <p:stCondLst>
                                    <p:cond delay="250"/>
                                  </p:stCondLst>
                                  <p:childTnLst>
                                    <p:set>
                                      <p:cBhvr>
                                        <p:cTn id="30" dur="1" fill="hold">
                                          <p:stCondLst>
                                            <p:cond delay="0"/>
                                          </p:stCondLst>
                                        </p:cTn>
                                        <p:tgtEl>
                                          <p:spTgt spid="4"/>
                                        </p:tgtEl>
                                        <p:attrNameLst>
                                          <p:attrName>style.visibility</p:attrName>
                                        </p:attrNameLst>
                                      </p:cBhvr>
                                      <p:to>
                                        <p:strVal val="visible"/>
                                      </p:to>
                                    </p:set>
                                    <p:animEffect transition="in" filter="fade">
                                      <p:cBhvr>
                                        <p:cTn id="31" dur="500"/>
                                        <p:tgtEl>
                                          <p:spTgt spid="4"/>
                                        </p:tgtEl>
                                      </p:cBhvr>
                                    </p:animEffect>
                                  </p:childTnLst>
                                </p:cTn>
                              </p:par>
                            </p:childTnLst>
                          </p:cTn>
                        </p:par>
                        <p:par>
                          <p:cTn id="32" fill="hold">
                            <p:stCondLst>
                              <p:cond delay="5250"/>
                            </p:stCondLst>
                            <p:childTnLst>
                              <p:par>
                                <p:cTn id="33" presetID="10" presetClass="entr" presetSubtype="0" fill="hold" nodeType="afterEffect">
                                  <p:stCondLst>
                                    <p:cond delay="25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500"/>
                                        <p:tgtEl>
                                          <p:spTgt spid="5"/>
                                        </p:tgtEl>
                                      </p:cBhvr>
                                    </p:animEffect>
                                  </p:childTnLst>
                                </p:cTn>
                              </p:par>
                            </p:childTnLst>
                          </p:cTn>
                        </p:par>
                        <p:par>
                          <p:cTn id="36" fill="hold">
                            <p:stCondLst>
                              <p:cond delay="6000"/>
                            </p:stCondLst>
                            <p:childTnLst>
                              <p:par>
                                <p:cTn id="37" presetID="10" presetClass="entr" presetSubtype="0" fill="hold" nodeType="afterEffect">
                                  <p:stCondLst>
                                    <p:cond delay="25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500"/>
                                        <p:tgtEl>
                                          <p:spTgt spid="6"/>
                                        </p:tgtEl>
                                      </p:cBhvr>
                                    </p:animEffect>
                                  </p:childTnLst>
                                </p:cTn>
                              </p:par>
                            </p:childTnLst>
                          </p:cTn>
                        </p:par>
                        <p:par>
                          <p:cTn id="40" fill="hold">
                            <p:stCondLst>
                              <p:cond delay="6750"/>
                            </p:stCondLst>
                            <p:childTnLst>
                              <p:par>
                                <p:cTn id="41" presetID="10" presetClass="entr" presetSubtype="0" fill="hold" nodeType="afterEffect">
                                  <p:stCondLst>
                                    <p:cond delay="250"/>
                                  </p:stCondLst>
                                  <p:childTnLst>
                                    <p:set>
                                      <p:cBhvr>
                                        <p:cTn id="42" dur="1" fill="hold">
                                          <p:stCondLst>
                                            <p:cond delay="0"/>
                                          </p:stCondLst>
                                        </p:cTn>
                                        <p:tgtEl>
                                          <p:spTgt spid="7"/>
                                        </p:tgtEl>
                                        <p:attrNameLst>
                                          <p:attrName>style.visibility</p:attrName>
                                        </p:attrNameLst>
                                      </p:cBhvr>
                                      <p:to>
                                        <p:strVal val="visible"/>
                                      </p:to>
                                    </p:set>
                                    <p:animEffect transition="in" filter="fade">
                                      <p:cBhvr>
                                        <p:cTn id="43" dur="500"/>
                                        <p:tgtEl>
                                          <p:spTgt spid="7"/>
                                        </p:tgtEl>
                                      </p:cBhvr>
                                    </p:animEffect>
                                  </p:childTnLst>
                                </p:cTn>
                              </p:par>
                            </p:childTnLst>
                          </p:cTn>
                        </p:par>
                        <p:par>
                          <p:cTn id="44" fill="hold">
                            <p:stCondLst>
                              <p:cond delay="7500"/>
                            </p:stCondLst>
                            <p:childTnLst>
                              <p:par>
                                <p:cTn id="45" presetID="10" presetClass="entr" presetSubtype="0" fill="hold" nodeType="afterEffect">
                                  <p:stCondLst>
                                    <p:cond delay="250"/>
                                  </p:stCondLst>
                                  <p:childTnLst>
                                    <p:set>
                                      <p:cBhvr>
                                        <p:cTn id="46" dur="1" fill="hold">
                                          <p:stCondLst>
                                            <p:cond delay="0"/>
                                          </p:stCondLst>
                                        </p:cTn>
                                        <p:tgtEl>
                                          <p:spTgt spid="8"/>
                                        </p:tgtEl>
                                        <p:attrNameLst>
                                          <p:attrName>style.visibility</p:attrName>
                                        </p:attrNameLst>
                                      </p:cBhvr>
                                      <p:to>
                                        <p:strVal val="visible"/>
                                      </p:to>
                                    </p:set>
                                    <p:animEffect transition="in" filter="fade">
                                      <p:cBhvr>
                                        <p:cTn id="47" dur="500"/>
                                        <p:tgtEl>
                                          <p:spTgt spid="8"/>
                                        </p:tgtEl>
                                      </p:cBhvr>
                                    </p:animEffect>
                                  </p:childTnLst>
                                </p:cTn>
                              </p:par>
                            </p:childTnLst>
                          </p:cTn>
                        </p:par>
                        <p:par>
                          <p:cTn id="48" fill="hold">
                            <p:stCondLst>
                              <p:cond delay="8250"/>
                            </p:stCondLst>
                            <p:childTnLst>
                              <p:par>
                                <p:cTn id="49" presetID="10" presetClass="entr" presetSubtype="0" fill="hold" nodeType="afterEffect">
                                  <p:stCondLst>
                                    <p:cond delay="250"/>
                                  </p:stCondLst>
                                  <p:childTnLst>
                                    <p:set>
                                      <p:cBhvr>
                                        <p:cTn id="50" dur="1" fill="hold">
                                          <p:stCondLst>
                                            <p:cond delay="0"/>
                                          </p:stCondLst>
                                        </p:cTn>
                                        <p:tgtEl>
                                          <p:spTgt spid="9"/>
                                        </p:tgtEl>
                                        <p:attrNameLst>
                                          <p:attrName>style.visibility</p:attrName>
                                        </p:attrNameLst>
                                      </p:cBhvr>
                                      <p:to>
                                        <p:strVal val="visible"/>
                                      </p:to>
                                    </p:set>
                                    <p:animEffect transition="in" filter="fade">
                                      <p:cBhvr>
                                        <p:cTn id="51" dur="500"/>
                                        <p:tgtEl>
                                          <p:spTgt spid="9"/>
                                        </p:tgtEl>
                                      </p:cBhvr>
                                    </p:animEffect>
                                  </p:childTnLst>
                                </p:cTn>
                              </p:par>
                            </p:childTnLst>
                          </p:cTn>
                        </p:par>
                        <p:par>
                          <p:cTn id="52" fill="hold">
                            <p:stCondLst>
                              <p:cond delay="9000"/>
                            </p:stCondLst>
                            <p:childTnLst>
                              <p:par>
                                <p:cTn id="53" presetID="10" presetClass="entr" presetSubtype="0" fill="hold" nodeType="afterEffect">
                                  <p:stCondLst>
                                    <p:cond delay="250"/>
                                  </p:stCondLst>
                                  <p:childTnLst>
                                    <p:set>
                                      <p:cBhvr>
                                        <p:cTn id="54" dur="1" fill="hold">
                                          <p:stCondLst>
                                            <p:cond delay="0"/>
                                          </p:stCondLst>
                                        </p:cTn>
                                        <p:tgtEl>
                                          <p:spTgt spid="10"/>
                                        </p:tgtEl>
                                        <p:attrNameLst>
                                          <p:attrName>style.visibility</p:attrName>
                                        </p:attrNameLst>
                                      </p:cBhvr>
                                      <p:to>
                                        <p:strVal val="visible"/>
                                      </p:to>
                                    </p:set>
                                    <p:animEffect transition="in" filter="fade">
                                      <p:cBhvr>
                                        <p:cTn id="55" dur="500"/>
                                        <p:tgtEl>
                                          <p:spTgt spid="10"/>
                                        </p:tgtEl>
                                      </p:cBhvr>
                                    </p:animEffect>
                                  </p:childTnLst>
                                </p:cTn>
                              </p:par>
                            </p:childTnLst>
                          </p:cTn>
                        </p:par>
                        <p:par>
                          <p:cTn id="56" fill="hold">
                            <p:stCondLst>
                              <p:cond delay="9750"/>
                            </p:stCondLst>
                            <p:childTnLst>
                              <p:par>
                                <p:cTn id="57" presetID="10" presetClass="entr" presetSubtype="0" fill="hold" nodeType="afterEffect">
                                  <p:stCondLst>
                                    <p:cond delay="250"/>
                                  </p:stCondLst>
                                  <p:childTnLst>
                                    <p:set>
                                      <p:cBhvr>
                                        <p:cTn id="58" dur="1" fill="hold">
                                          <p:stCondLst>
                                            <p:cond delay="0"/>
                                          </p:stCondLst>
                                        </p:cTn>
                                        <p:tgtEl>
                                          <p:spTgt spid="18"/>
                                        </p:tgtEl>
                                        <p:attrNameLst>
                                          <p:attrName>style.visibility</p:attrName>
                                        </p:attrNameLst>
                                      </p:cBhvr>
                                      <p:to>
                                        <p:strVal val="visible"/>
                                      </p:to>
                                    </p:set>
                                    <p:animEffect transition="in" filter="fade">
                                      <p:cBhvr>
                                        <p:cTn id="59" dur="500"/>
                                        <p:tgtEl>
                                          <p:spTgt spid="18"/>
                                        </p:tgtEl>
                                      </p:cBhvr>
                                    </p:animEffect>
                                  </p:childTnLst>
                                </p:cTn>
                              </p:par>
                            </p:childTnLst>
                          </p:cTn>
                        </p:par>
                        <p:par>
                          <p:cTn id="60" fill="hold">
                            <p:stCondLst>
                              <p:cond delay="10500"/>
                            </p:stCondLst>
                            <p:childTnLst>
                              <p:par>
                                <p:cTn id="61" presetID="10" presetClass="entr" presetSubtype="0" fill="hold" nodeType="afterEffect">
                                  <p:stCondLst>
                                    <p:cond delay="0"/>
                                  </p:stCondLst>
                                  <p:childTnLst>
                                    <p:set>
                                      <p:cBhvr>
                                        <p:cTn id="62" dur="1" fill="hold">
                                          <p:stCondLst>
                                            <p:cond delay="0"/>
                                          </p:stCondLst>
                                        </p:cTn>
                                        <p:tgtEl>
                                          <p:spTgt spid="14"/>
                                        </p:tgtEl>
                                        <p:attrNameLst>
                                          <p:attrName>style.visibility</p:attrName>
                                        </p:attrNameLst>
                                      </p:cBhvr>
                                      <p:to>
                                        <p:strVal val="visible"/>
                                      </p:to>
                                    </p:set>
                                    <p:animEffect transition="in" filter="fade">
                                      <p:cBhvr>
                                        <p:cTn id="63"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but there is a bright side: </a:t>
            </a:r>
            <a:r>
              <a:rPr lang="en-US" sz="4800" dirty="0">
                <a:solidFill>
                  <a:schemeClr val="tx2"/>
                </a:solidFill>
              </a:rPr>
              <a:t>Opportunity</a:t>
            </a:r>
            <a:endParaRPr lang="en-US" dirty="0">
              <a:solidFill>
                <a:schemeClr val="tx2"/>
              </a:solidFill>
            </a:endParaRPr>
          </a:p>
        </p:txBody>
      </p:sp>
      <p:sp>
        <p:nvSpPr>
          <p:cNvPr id="4" name="Freeform 78"/>
          <p:cNvSpPr>
            <a:spLocks/>
          </p:cNvSpPr>
          <p:nvPr/>
        </p:nvSpPr>
        <p:spPr bwMode="auto">
          <a:xfrm>
            <a:off x="967691" y="4529320"/>
            <a:ext cx="162165" cy="172625"/>
          </a:xfrm>
          <a:custGeom>
            <a:avLst/>
            <a:gdLst>
              <a:gd name="T0" fmla="*/ 0 w 26"/>
              <a:gd name="T1" fmla="*/ 0 h 28"/>
              <a:gd name="T2" fmla="*/ 0 w 26"/>
              <a:gd name="T3" fmla="*/ 16 h 28"/>
              <a:gd name="T4" fmla="*/ 13 w 26"/>
              <a:gd name="T5" fmla="*/ 28 h 28"/>
              <a:gd name="T6" fmla="*/ 26 w 26"/>
              <a:gd name="T7" fmla="*/ 16 h 28"/>
              <a:gd name="T8" fmla="*/ 26 w 26"/>
              <a:gd name="T9" fmla="*/ 0 h 28"/>
              <a:gd name="T10" fmla="*/ 0 w 26"/>
              <a:gd name="T11" fmla="*/ 0 h 28"/>
            </a:gdLst>
            <a:ahLst/>
            <a:cxnLst>
              <a:cxn ang="0">
                <a:pos x="T0" y="T1"/>
              </a:cxn>
              <a:cxn ang="0">
                <a:pos x="T2" y="T3"/>
              </a:cxn>
              <a:cxn ang="0">
                <a:pos x="T4" y="T5"/>
              </a:cxn>
              <a:cxn ang="0">
                <a:pos x="T6" y="T7"/>
              </a:cxn>
              <a:cxn ang="0">
                <a:pos x="T8" y="T9"/>
              </a:cxn>
              <a:cxn ang="0">
                <a:pos x="T10" y="T11"/>
              </a:cxn>
            </a:cxnLst>
            <a:rect l="0" t="0" r="r" b="b"/>
            <a:pathLst>
              <a:path w="26" h="28">
                <a:moveTo>
                  <a:pt x="0" y="0"/>
                </a:moveTo>
                <a:cubicBezTo>
                  <a:pt x="0" y="16"/>
                  <a:pt x="0" y="16"/>
                  <a:pt x="0" y="16"/>
                </a:cubicBezTo>
                <a:cubicBezTo>
                  <a:pt x="0" y="23"/>
                  <a:pt x="6" y="28"/>
                  <a:pt x="13" y="28"/>
                </a:cubicBezTo>
                <a:cubicBezTo>
                  <a:pt x="20" y="28"/>
                  <a:pt x="26" y="23"/>
                  <a:pt x="26" y="16"/>
                </a:cubicBezTo>
                <a:cubicBezTo>
                  <a:pt x="26" y="0"/>
                  <a:pt x="26" y="0"/>
                  <a:pt x="2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5" name="Freeform 67"/>
          <p:cNvSpPr>
            <a:spLocks/>
          </p:cNvSpPr>
          <p:nvPr/>
        </p:nvSpPr>
        <p:spPr bwMode="auto">
          <a:xfrm>
            <a:off x="1493415" y="3103846"/>
            <a:ext cx="303403" cy="329559"/>
          </a:xfrm>
          <a:custGeom>
            <a:avLst/>
            <a:gdLst>
              <a:gd name="T0" fmla="*/ 0 w 116"/>
              <a:gd name="T1" fmla="*/ 12 h 126"/>
              <a:gd name="T2" fmla="*/ 12 w 116"/>
              <a:gd name="T3" fmla="*/ 0 h 126"/>
              <a:gd name="T4" fmla="*/ 104 w 116"/>
              <a:gd name="T5" fmla="*/ 0 h 126"/>
              <a:gd name="T6" fmla="*/ 116 w 116"/>
              <a:gd name="T7" fmla="*/ 12 h 126"/>
              <a:gd name="T8" fmla="*/ 85 w 116"/>
              <a:gd name="T9" fmla="*/ 116 h 126"/>
              <a:gd name="T10" fmla="*/ 43 w 116"/>
              <a:gd name="T11" fmla="*/ 126 h 126"/>
              <a:gd name="T12" fmla="*/ 7 w 116"/>
              <a:gd name="T13" fmla="*/ 76 h 126"/>
              <a:gd name="T14" fmla="*/ 0 w 116"/>
              <a:gd name="T15" fmla="*/ 12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26">
                <a:moveTo>
                  <a:pt x="0" y="12"/>
                </a:moveTo>
                <a:lnTo>
                  <a:pt x="12" y="0"/>
                </a:lnTo>
                <a:lnTo>
                  <a:pt x="104" y="0"/>
                </a:lnTo>
                <a:lnTo>
                  <a:pt x="116" y="12"/>
                </a:lnTo>
                <a:lnTo>
                  <a:pt x="85" y="116"/>
                </a:lnTo>
                <a:lnTo>
                  <a:pt x="43" y="126"/>
                </a:lnTo>
                <a:lnTo>
                  <a:pt x="7" y="76"/>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6" name="Freeform 68"/>
          <p:cNvSpPr>
            <a:spLocks/>
          </p:cNvSpPr>
          <p:nvPr/>
        </p:nvSpPr>
        <p:spPr bwMode="auto">
          <a:xfrm>
            <a:off x="1320787" y="6190191"/>
            <a:ext cx="303403" cy="154318"/>
          </a:xfrm>
          <a:custGeom>
            <a:avLst/>
            <a:gdLst>
              <a:gd name="T0" fmla="*/ 24 w 49"/>
              <a:gd name="T1" fmla="*/ 0 h 25"/>
              <a:gd name="T2" fmla="*/ 0 w 49"/>
              <a:gd name="T3" fmla="*/ 25 h 25"/>
              <a:gd name="T4" fmla="*/ 49 w 49"/>
              <a:gd name="T5" fmla="*/ 25 h 25"/>
              <a:gd name="T6" fmla="*/ 24 w 49"/>
              <a:gd name="T7" fmla="*/ 0 h 25"/>
            </a:gdLst>
            <a:ahLst/>
            <a:cxnLst>
              <a:cxn ang="0">
                <a:pos x="T0" y="T1"/>
              </a:cxn>
              <a:cxn ang="0">
                <a:pos x="T2" y="T3"/>
              </a:cxn>
              <a:cxn ang="0">
                <a:pos x="T4" y="T5"/>
              </a:cxn>
              <a:cxn ang="0">
                <a:pos x="T6" y="T7"/>
              </a:cxn>
            </a:cxnLst>
            <a:rect l="0" t="0" r="r" b="b"/>
            <a:pathLst>
              <a:path w="49" h="25">
                <a:moveTo>
                  <a:pt x="24" y="0"/>
                </a:moveTo>
                <a:cubicBezTo>
                  <a:pt x="11" y="0"/>
                  <a:pt x="0" y="11"/>
                  <a:pt x="0" y="25"/>
                </a:cubicBezTo>
                <a:cubicBezTo>
                  <a:pt x="49" y="25"/>
                  <a:pt x="49" y="25"/>
                  <a:pt x="49" y="25"/>
                </a:cubicBezTo>
                <a:cubicBezTo>
                  <a:pt x="49" y="11"/>
                  <a:pt x="38" y="0"/>
                  <a:pt x="2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7" name="Freeform 69"/>
          <p:cNvSpPr>
            <a:spLocks/>
          </p:cNvSpPr>
          <p:nvPr/>
        </p:nvSpPr>
        <p:spPr bwMode="auto">
          <a:xfrm>
            <a:off x="1276325" y="4547626"/>
            <a:ext cx="389718" cy="1671336"/>
          </a:xfrm>
          <a:custGeom>
            <a:avLst/>
            <a:gdLst>
              <a:gd name="T0" fmla="*/ 116 w 149"/>
              <a:gd name="T1" fmla="*/ 639 h 639"/>
              <a:gd name="T2" fmla="*/ 29 w 149"/>
              <a:gd name="T3" fmla="*/ 639 h 639"/>
              <a:gd name="T4" fmla="*/ 0 w 149"/>
              <a:gd name="T5" fmla="*/ 0 h 639"/>
              <a:gd name="T6" fmla="*/ 149 w 149"/>
              <a:gd name="T7" fmla="*/ 0 h 639"/>
              <a:gd name="T8" fmla="*/ 116 w 149"/>
              <a:gd name="T9" fmla="*/ 639 h 639"/>
            </a:gdLst>
            <a:ahLst/>
            <a:cxnLst>
              <a:cxn ang="0">
                <a:pos x="T0" y="T1"/>
              </a:cxn>
              <a:cxn ang="0">
                <a:pos x="T2" y="T3"/>
              </a:cxn>
              <a:cxn ang="0">
                <a:pos x="T4" y="T5"/>
              </a:cxn>
              <a:cxn ang="0">
                <a:pos x="T6" y="T7"/>
              </a:cxn>
              <a:cxn ang="0">
                <a:pos x="T8" y="T9"/>
              </a:cxn>
            </a:cxnLst>
            <a:rect l="0" t="0" r="r" b="b"/>
            <a:pathLst>
              <a:path w="149" h="639">
                <a:moveTo>
                  <a:pt x="116" y="639"/>
                </a:moveTo>
                <a:lnTo>
                  <a:pt x="29" y="639"/>
                </a:lnTo>
                <a:lnTo>
                  <a:pt x="0" y="0"/>
                </a:lnTo>
                <a:lnTo>
                  <a:pt x="149" y="0"/>
                </a:lnTo>
                <a:lnTo>
                  <a:pt x="116" y="63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8" name="Freeform 70"/>
          <p:cNvSpPr>
            <a:spLocks/>
          </p:cNvSpPr>
          <p:nvPr/>
        </p:nvSpPr>
        <p:spPr bwMode="auto">
          <a:xfrm>
            <a:off x="1618962" y="4547626"/>
            <a:ext cx="389718" cy="1671336"/>
          </a:xfrm>
          <a:custGeom>
            <a:avLst/>
            <a:gdLst>
              <a:gd name="T0" fmla="*/ 120 w 149"/>
              <a:gd name="T1" fmla="*/ 639 h 639"/>
              <a:gd name="T2" fmla="*/ 33 w 149"/>
              <a:gd name="T3" fmla="*/ 639 h 639"/>
              <a:gd name="T4" fmla="*/ 0 w 149"/>
              <a:gd name="T5" fmla="*/ 0 h 639"/>
              <a:gd name="T6" fmla="*/ 149 w 149"/>
              <a:gd name="T7" fmla="*/ 0 h 639"/>
              <a:gd name="T8" fmla="*/ 120 w 149"/>
              <a:gd name="T9" fmla="*/ 639 h 639"/>
            </a:gdLst>
            <a:ahLst/>
            <a:cxnLst>
              <a:cxn ang="0">
                <a:pos x="T0" y="T1"/>
              </a:cxn>
              <a:cxn ang="0">
                <a:pos x="T2" y="T3"/>
              </a:cxn>
              <a:cxn ang="0">
                <a:pos x="T4" y="T5"/>
              </a:cxn>
              <a:cxn ang="0">
                <a:pos x="T6" y="T7"/>
              </a:cxn>
              <a:cxn ang="0">
                <a:pos x="T8" y="T9"/>
              </a:cxn>
            </a:cxnLst>
            <a:rect l="0" t="0" r="r" b="b"/>
            <a:pathLst>
              <a:path w="149" h="639">
                <a:moveTo>
                  <a:pt x="120" y="639"/>
                </a:moveTo>
                <a:lnTo>
                  <a:pt x="33" y="639"/>
                </a:lnTo>
                <a:lnTo>
                  <a:pt x="0" y="0"/>
                </a:lnTo>
                <a:lnTo>
                  <a:pt x="149" y="0"/>
                </a:lnTo>
                <a:lnTo>
                  <a:pt x="120" y="63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9" name="Freeform 71"/>
          <p:cNvSpPr>
            <a:spLocks/>
          </p:cNvSpPr>
          <p:nvPr/>
        </p:nvSpPr>
        <p:spPr bwMode="auto">
          <a:xfrm>
            <a:off x="1673887" y="6190191"/>
            <a:ext cx="303403" cy="154318"/>
          </a:xfrm>
          <a:custGeom>
            <a:avLst/>
            <a:gdLst>
              <a:gd name="T0" fmla="*/ 25 w 49"/>
              <a:gd name="T1" fmla="*/ 0 h 25"/>
              <a:gd name="T2" fmla="*/ 0 w 49"/>
              <a:gd name="T3" fmla="*/ 25 h 25"/>
              <a:gd name="T4" fmla="*/ 49 w 49"/>
              <a:gd name="T5" fmla="*/ 25 h 25"/>
              <a:gd name="T6" fmla="*/ 25 w 49"/>
              <a:gd name="T7" fmla="*/ 0 h 25"/>
            </a:gdLst>
            <a:ahLst/>
            <a:cxnLst>
              <a:cxn ang="0">
                <a:pos x="T0" y="T1"/>
              </a:cxn>
              <a:cxn ang="0">
                <a:pos x="T2" y="T3"/>
              </a:cxn>
              <a:cxn ang="0">
                <a:pos x="T4" y="T5"/>
              </a:cxn>
              <a:cxn ang="0">
                <a:pos x="T6" y="T7"/>
              </a:cxn>
            </a:cxnLst>
            <a:rect l="0" t="0" r="r" b="b"/>
            <a:pathLst>
              <a:path w="49" h="25">
                <a:moveTo>
                  <a:pt x="25" y="0"/>
                </a:moveTo>
                <a:cubicBezTo>
                  <a:pt x="11" y="0"/>
                  <a:pt x="0" y="11"/>
                  <a:pt x="0" y="25"/>
                </a:cubicBezTo>
                <a:cubicBezTo>
                  <a:pt x="49" y="25"/>
                  <a:pt x="49" y="25"/>
                  <a:pt x="49" y="25"/>
                </a:cubicBezTo>
                <a:cubicBezTo>
                  <a:pt x="49" y="11"/>
                  <a:pt x="38" y="0"/>
                  <a:pt x="2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0" name="Freeform 73"/>
          <p:cNvSpPr>
            <a:spLocks/>
          </p:cNvSpPr>
          <p:nvPr/>
        </p:nvSpPr>
        <p:spPr bwMode="auto">
          <a:xfrm>
            <a:off x="1425409" y="2455190"/>
            <a:ext cx="476031" cy="598962"/>
          </a:xfrm>
          <a:custGeom>
            <a:avLst/>
            <a:gdLst>
              <a:gd name="T0" fmla="*/ 68 w 77"/>
              <a:gd name="T1" fmla="*/ 59 h 97"/>
              <a:gd name="T2" fmla="*/ 28 w 77"/>
              <a:gd name="T3" fmla="*/ 90 h 97"/>
              <a:gd name="T4" fmla="*/ 8 w 77"/>
              <a:gd name="T5" fmla="*/ 39 h 97"/>
              <a:gd name="T6" fmla="*/ 57 w 77"/>
              <a:gd name="T7" fmla="*/ 6 h 97"/>
              <a:gd name="T8" fmla="*/ 68 w 77"/>
              <a:gd name="T9" fmla="*/ 59 h 97"/>
            </a:gdLst>
            <a:ahLst/>
            <a:cxnLst>
              <a:cxn ang="0">
                <a:pos x="T0" y="T1"/>
              </a:cxn>
              <a:cxn ang="0">
                <a:pos x="T2" y="T3"/>
              </a:cxn>
              <a:cxn ang="0">
                <a:pos x="T4" y="T5"/>
              </a:cxn>
              <a:cxn ang="0">
                <a:pos x="T6" y="T7"/>
              </a:cxn>
              <a:cxn ang="0">
                <a:pos x="T8" y="T9"/>
              </a:cxn>
            </a:cxnLst>
            <a:rect l="0" t="0" r="r" b="b"/>
            <a:pathLst>
              <a:path w="77" h="97">
                <a:moveTo>
                  <a:pt x="68" y="59"/>
                </a:moveTo>
                <a:cubicBezTo>
                  <a:pt x="54" y="97"/>
                  <a:pt x="46" y="96"/>
                  <a:pt x="28" y="90"/>
                </a:cubicBezTo>
                <a:cubicBezTo>
                  <a:pt x="9" y="84"/>
                  <a:pt x="0" y="61"/>
                  <a:pt x="8" y="39"/>
                </a:cubicBezTo>
                <a:cubicBezTo>
                  <a:pt x="15" y="17"/>
                  <a:pt x="39" y="0"/>
                  <a:pt x="57" y="6"/>
                </a:cubicBezTo>
                <a:cubicBezTo>
                  <a:pt x="76" y="12"/>
                  <a:pt x="77" y="37"/>
                  <a:pt x="68" y="59"/>
                </a:cubicBezTo>
                <a:close/>
              </a:path>
            </a:pathLst>
          </a:custGeom>
          <a:solidFill>
            <a:srgbClr val="E8B330"/>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1" name="Freeform 74"/>
          <p:cNvSpPr>
            <a:spLocks/>
          </p:cNvSpPr>
          <p:nvPr/>
        </p:nvSpPr>
        <p:spPr bwMode="auto">
          <a:xfrm>
            <a:off x="1339099" y="2429034"/>
            <a:ext cx="533571" cy="656503"/>
          </a:xfrm>
          <a:custGeom>
            <a:avLst/>
            <a:gdLst>
              <a:gd name="T0" fmla="*/ 74 w 86"/>
              <a:gd name="T1" fmla="*/ 22 h 106"/>
              <a:gd name="T2" fmla="*/ 62 w 86"/>
              <a:gd name="T3" fmla="*/ 90 h 106"/>
              <a:gd name="T4" fmla="*/ 25 w 86"/>
              <a:gd name="T5" fmla="*/ 87 h 106"/>
              <a:gd name="T6" fmla="*/ 25 w 86"/>
              <a:gd name="T7" fmla="*/ 8 h 106"/>
              <a:gd name="T8" fmla="*/ 74 w 86"/>
              <a:gd name="T9" fmla="*/ 22 h 106"/>
            </a:gdLst>
            <a:ahLst/>
            <a:cxnLst>
              <a:cxn ang="0">
                <a:pos x="T0" y="T1"/>
              </a:cxn>
              <a:cxn ang="0">
                <a:pos x="T2" y="T3"/>
              </a:cxn>
              <a:cxn ang="0">
                <a:pos x="T4" y="T5"/>
              </a:cxn>
              <a:cxn ang="0">
                <a:pos x="T6" y="T7"/>
              </a:cxn>
              <a:cxn ang="0">
                <a:pos x="T8" y="T9"/>
              </a:cxn>
            </a:cxnLst>
            <a:rect l="0" t="0" r="r" b="b"/>
            <a:pathLst>
              <a:path w="86" h="106">
                <a:moveTo>
                  <a:pt x="74" y="22"/>
                </a:moveTo>
                <a:cubicBezTo>
                  <a:pt x="86" y="41"/>
                  <a:pt x="77" y="81"/>
                  <a:pt x="62" y="90"/>
                </a:cubicBezTo>
                <a:cubicBezTo>
                  <a:pt x="48" y="98"/>
                  <a:pt x="36" y="106"/>
                  <a:pt x="25" y="87"/>
                </a:cubicBezTo>
                <a:cubicBezTo>
                  <a:pt x="14" y="68"/>
                  <a:pt x="0" y="19"/>
                  <a:pt x="25" y="8"/>
                </a:cubicBezTo>
                <a:cubicBezTo>
                  <a:pt x="40" y="0"/>
                  <a:pt x="63" y="3"/>
                  <a:pt x="74" y="22"/>
                </a:cubicBezTo>
                <a:close/>
              </a:path>
            </a:pathLst>
          </a:custGeom>
          <a:solidFill>
            <a:srgbClr val="E8B330"/>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2" name="Freeform 75"/>
          <p:cNvSpPr>
            <a:spLocks/>
          </p:cNvSpPr>
          <p:nvPr/>
        </p:nvSpPr>
        <p:spPr bwMode="auto">
          <a:xfrm>
            <a:off x="1524803" y="2912912"/>
            <a:ext cx="240631" cy="290328"/>
          </a:xfrm>
          <a:custGeom>
            <a:avLst/>
            <a:gdLst>
              <a:gd name="T0" fmla="*/ 92 w 92"/>
              <a:gd name="T1" fmla="*/ 73 h 111"/>
              <a:gd name="T2" fmla="*/ 45 w 92"/>
              <a:gd name="T3" fmla="*/ 111 h 111"/>
              <a:gd name="T4" fmla="*/ 0 w 92"/>
              <a:gd name="T5" fmla="*/ 73 h 111"/>
              <a:gd name="T6" fmla="*/ 0 w 92"/>
              <a:gd name="T7" fmla="*/ 0 h 111"/>
              <a:gd name="T8" fmla="*/ 92 w 92"/>
              <a:gd name="T9" fmla="*/ 0 h 111"/>
              <a:gd name="T10" fmla="*/ 92 w 92"/>
              <a:gd name="T11" fmla="*/ 73 h 111"/>
            </a:gdLst>
            <a:ahLst/>
            <a:cxnLst>
              <a:cxn ang="0">
                <a:pos x="T0" y="T1"/>
              </a:cxn>
              <a:cxn ang="0">
                <a:pos x="T2" y="T3"/>
              </a:cxn>
              <a:cxn ang="0">
                <a:pos x="T4" y="T5"/>
              </a:cxn>
              <a:cxn ang="0">
                <a:pos x="T6" y="T7"/>
              </a:cxn>
              <a:cxn ang="0">
                <a:pos x="T8" y="T9"/>
              </a:cxn>
              <a:cxn ang="0">
                <a:pos x="T10" y="T11"/>
              </a:cxn>
            </a:cxnLst>
            <a:rect l="0" t="0" r="r" b="b"/>
            <a:pathLst>
              <a:path w="92" h="111">
                <a:moveTo>
                  <a:pt x="92" y="73"/>
                </a:moveTo>
                <a:lnTo>
                  <a:pt x="45" y="111"/>
                </a:lnTo>
                <a:lnTo>
                  <a:pt x="0" y="73"/>
                </a:lnTo>
                <a:lnTo>
                  <a:pt x="0" y="0"/>
                </a:lnTo>
                <a:lnTo>
                  <a:pt x="92" y="0"/>
                </a:lnTo>
                <a:lnTo>
                  <a:pt x="92" y="73"/>
                </a:lnTo>
                <a:close/>
              </a:path>
            </a:pathLst>
          </a:custGeom>
          <a:solidFill>
            <a:srgbClr val="FFE093"/>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3" name="Freeform 76"/>
          <p:cNvSpPr>
            <a:spLocks/>
          </p:cNvSpPr>
          <p:nvPr/>
        </p:nvSpPr>
        <p:spPr bwMode="auto">
          <a:xfrm>
            <a:off x="944150" y="3179696"/>
            <a:ext cx="517878" cy="1349621"/>
          </a:xfrm>
          <a:custGeom>
            <a:avLst/>
            <a:gdLst>
              <a:gd name="T0" fmla="*/ 84 w 84"/>
              <a:gd name="T1" fmla="*/ 9 h 218"/>
              <a:gd name="T2" fmla="*/ 51 w 84"/>
              <a:gd name="T3" fmla="*/ 0 h 218"/>
              <a:gd name="T4" fmla="*/ 0 w 84"/>
              <a:gd name="T5" fmla="*/ 218 h 218"/>
              <a:gd name="T6" fmla="*/ 34 w 84"/>
              <a:gd name="T7" fmla="*/ 218 h 218"/>
              <a:gd name="T8" fmla="*/ 84 w 84"/>
              <a:gd name="T9" fmla="*/ 9 h 218"/>
            </a:gdLst>
            <a:ahLst/>
            <a:cxnLst>
              <a:cxn ang="0">
                <a:pos x="T0" y="T1"/>
              </a:cxn>
              <a:cxn ang="0">
                <a:pos x="T2" y="T3"/>
              </a:cxn>
              <a:cxn ang="0">
                <a:pos x="T4" y="T5"/>
              </a:cxn>
              <a:cxn ang="0">
                <a:pos x="T6" y="T7"/>
              </a:cxn>
              <a:cxn ang="0">
                <a:pos x="T8" y="T9"/>
              </a:cxn>
            </a:cxnLst>
            <a:rect l="0" t="0" r="r" b="b"/>
            <a:pathLst>
              <a:path w="84" h="218">
                <a:moveTo>
                  <a:pt x="84" y="9"/>
                </a:moveTo>
                <a:cubicBezTo>
                  <a:pt x="73" y="6"/>
                  <a:pt x="62" y="3"/>
                  <a:pt x="51" y="0"/>
                </a:cubicBezTo>
                <a:cubicBezTo>
                  <a:pt x="18" y="71"/>
                  <a:pt x="7" y="141"/>
                  <a:pt x="0" y="218"/>
                </a:cubicBezTo>
                <a:cubicBezTo>
                  <a:pt x="34" y="218"/>
                  <a:pt x="34" y="218"/>
                  <a:pt x="34" y="218"/>
                </a:cubicBezTo>
                <a:cubicBezTo>
                  <a:pt x="42" y="144"/>
                  <a:pt x="53" y="77"/>
                  <a:pt x="84" y="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4" name="Freeform 77"/>
          <p:cNvSpPr>
            <a:spLocks/>
          </p:cNvSpPr>
          <p:nvPr/>
        </p:nvSpPr>
        <p:spPr bwMode="auto">
          <a:xfrm>
            <a:off x="1828206" y="3179696"/>
            <a:ext cx="525725" cy="1349621"/>
          </a:xfrm>
          <a:custGeom>
            <a:avLst/>
            <a:gdLst>
              <a:gd name="T0" fmla="*/ 0 w 85"/>
              <a:gd name="T1" fmla="*/ 9 h 218"/>
              <a:gd name="T2" fmla="*/ 34 w 85"/>
              <a:gd name="T3" fmla="*/ 0 h 218"/>
              <a:gd name="T4" fmla="*/ 85 w 85"/>
              <a:gd name="T5" fmla="*/ 218 h 218"/>
              <a:gd name="T6" fmla="*/ 50 w 85"/>
              <a:gd name="T7" fmla="*/ 218 h 218"/>
              <a:gd name="T8" fmla="*/ 0 w 85"/>
              <a:gd name="T9" fmla="*/ 9 h 218"/>
            </a:gdLst>
            <a:ahLst/>
            <a:cxnLst>
              <a:cxn ang="0">
                <a:pos x="T0" y="T1"/>
              </a:cxn>
              <a:cxn ang="0">
                <a:pos x="T2" y="T3"/>
              </a:cxn>
              <a:cxn ang="0">
                <a:pos x="T4" y="T5"/>
              </a:cxn>
              <a:cxn ang="0">
                <a:pos x="T6" y="T7"/>
              </a:cxn>
              <a:cxn ang="0">
                <a:pos x="T8" y="T9"/>
              </a:cxn>
            </a:cxnLst>
            <a:rect l="0" t="0" r="r" b="b"/>
            <a:pathLst>
              <a:path w="85" h="218">
                <a:moveTo>
                  <a:pt x="0" y="9"/>
                </a:moveTo>
                <a:cubicBezTo>
                  <a:pt x="12" y="6"/>
                  <a:pt x="23" y="3"/>
                  <a:pt x="34" y="0"/>
                </a:cubicBezTo>
                <a:cubicBezTo>
                  <a:pt x="67" y="71"/>
                  <a:pt x="77" y="141"/>
                  <a:pt x="85" y="218"/>
                </a:cubicBezTo>
                <a:cubicBezTo>
                  <a:pt x="50" y="218"/>
                  <a:pt x="50" y="218"/>
                  <a:pt x="50" y="218"/>
                </a:cubicBezTo>
                <a:cubicBezTo>
                  <a:pt x="42" y="144"/>
                  <a:pt x="32" y="77"/>
                  <a:pt x="0" y="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5" name="Freeform 79"/>
          <p:cNvSpPr>
            <a:spLocks/>
          </p:cNvSpPr>
          <p:nvPr/>
        </p:nvSpPr>
        <p:spPr bwMode="auto">
          <a:xfrm>
            <a:off x="2168224" y="4529320"/>
            <a:ext cx="154318" cy="172625"/>
          </a:xfrm>
          <a:custGeom>
            <a:avLst/>
            <a:gdLst>
              <a:gd name="T0" fmla="*/ 0 w 25"/>
              <a:gd name="T1" fmla="*/ 0 h 28"/>
              <a:gd name="T2" fmla="*/ 0 w 25"/>
              <a:gd name="T3" fmla="*/ 16 h 28"/>
              <a:gd name="T4" fmla="*/ 12 w 25"/>
              <a:gd name="T5" fmla="*/ 28 h 28"/>
              <a:gd name="T6" fmla="*/ 25 w 25"/>
              <a:gd name="T7" fmla="*/ 16 h 28"/>
              <a:gd name="T8" fmla="*/ 25 w 25"/>
              <a:gd name="T9" fmla="*/ 0 h 28"/>
              <a:gd name="T10" fmla="*/ 0 w 25"/>
              <a:gd name="T11" fmla="*/ 0 h 28"/>
            </a:gdLst>
            <a:ahLst/>
            <a:cxnLst>
              <a:cxn ang="0">
                <a:pos x="T0" y="T1"/>
              </a:cxn>
              <a:cxn ang="0">
                <a:pos x="T2" y="T3"/>
              </a:cxn>
              <a:cxn ang="0">
                <a:pos x="T4" y="T5"/>
              </a:cxn>
              <a:cxn ang="0">
                <a:pos x="T6" y="T7"/>
              </a:cxn>
              <a:cxn ang="0">
                <a:pos x="T8" y="T9"/>
              </a:cxn>
              <a:cxn ang="0">
                <a:pos x="T10" y="T11"/>
              </a:cxn>
            </a:cxnLst>
            <a:rect l="0" t="0" r="r" b="b"/>
            <a:pathLst>
              <a:path w="25" h="28">
                <a:moveTo>
                  <a:pt x="0" y="0"/>
                </a:moveTo>
                <a:cubicBezTo>
                  <a:pt x="0" y="16"/>
                  <a:pt x="0" y="16"/>
                  <a:pt x="0" y="16"/>
                </a:cubicBezTo>
                <a:cubicBezTo>
                  <a:pt x="0" y="23"/>
                  <a:pt x="5" y="28"/>
                  <a:pt x="12" y="28"/>
                </a:cubicBezTo>
                <a:cubicBezTo>
                  <a:pt x="19" y="28"/>
                  <a:pt x="25" y="23"/>
                  <a:pt x="25" y="16"/>
                </a:cubicBezTo>
                <a:cubicBezTo>
                  <a:pt x="25" y="0"/>
                  <a:pt x="25" y="0"/>
                  <a:pt x="25"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6" name="Freeform 80"/>
          <p:cNvSpPr>
            <a:spLocks/>
          </p:cNvSpPr>
          <p:nvPr/>
        </p:nvSpPr>
        <p:spPr bwMode="auto">
          <a:xfrm>
            <a:off x="1252784" y="3135231"/>
            <a:ext cx="784665" cy="1367933"/>
          </a:xfrm>
          <a:custGeom>
            <a:avLst/>
            <a:gdLst>
              <a:gd name="T0" fmla="*/ 208 w 300"/>
              <a:gd name="T1" fmla="*/ 0 h 523"/>
              <a:gd name="T2" fmla="*/ 149 w 300"/>
              <a:gd name="T3" fmla="*/ 100 h 523"/>
              <a:gd name="T4" fmla="*/ 92 w 300"/>
              <a:gd name="T5" fmla="*/ 0 h 523"/>
              <a:gd name="T6" fmla="*/ 0 w 300"/>
              <a:gd name="T7" fmla="*/ 17 h 523"/>
              <a:gd name="T8" fmla="*/ 5 w 300"/>
              <a:gd name="T9" fmla="*/ 523 h 523"/>
              <a:gd name="T10" fmla="*/ 293 w 300"/>
              <a:gd name="T11" fmla="*/ 523 h 523"/>
              <a:gd name="T12" fmla="*/ 300 w 300"/>
              <a:gd name="T13" fmla="*/ 17 h 523"/>
              <a:gd name="T14" fmla="*/ 208 w 300"/>
              <a:gd name="T15" fmla="*/ 0 h 5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523">
                <a:moveTo>
                  <a:pt x="208" y="0"/>
                </a:moveTo>
                <a:lnTo>
                  <a:pt x="149" y="100"/>
                </a:lnTo>
                <a:lnTo>
                  <a:pt x="92" y="0"/>
                </a:lnTo>
                <a:lnTo>
                  <a:pt x="0" y="17"/>
                </a:lnTo>
                <a:lnTo>
                  <a:pt x="5" y="523"/>
                </a:lnTo>
                <a:lnTo>
                  <a:pt x="293" y="523"/>
                </a:lnTo>
                <a:lnTo>
                  <a:pt x="300" y="17"/>
                </a:lnTo>
                <a:lnTo>
                  <a:pt x="208"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7" name="Freeform 81"/>
          <p:cNvSpPr>
            <a:spLocks/>
          </p:cNvSpPr>
          <p:nvPr/>
        </p:nvSpPr>
        <p:spPr bwMode="auto">
          <a:xfrm>
            <a:off x="1841284" y="2664434"/>
            <a:ext cx="5231" cy="7847"/>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0"/>
                  <a:pt x="0" y="0"/>
                  <a:pt x="0" y="0"/>
                </a:cubicBezTo>
                <a:cubicBezTo>
                  <a:pt x="0" y="0"/>
                  <a:pt x="0" y="0"/>
                  <a:pt x="1"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8" name="Freeform 82"/>
          <p:cNvSpPr>
            <a:spLocks/>
          </p:cNvSpPr>
          <p:nvPr/>
        </p:nvSpPr>
        <p:spPr bwMode="auto">
          <a:xfrm>
            <a:off x="1841284" y="265920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9" name="Freeform 83"/>
          <p:cNvSpPr>
            <a:spLocks/>
          </p:cNvSpPr>
          <p:nvPr/>
        </p:nvSpPr>
        <p:spPr bwMode="auto">
          <a:xfrm>
            <a:off x="1828206" y="2640893"/>
            <a:ext cx="5231"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0" name="Freeform 84"/>
          <p:cNvSpPr>
            <a:spLocks/>
          </p:cNvSpPr>
          <p:nvPr/>
        </p:nvSpPr>
        <p:spPr bwMode="auto">
          <a:xfrm>
            <a:off x="1833437" y="264612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1" name="Freeform 85"/>
          <p:cNvSpPr>
            <a:spLocks/>
          </p:cNvSpPr>
          <p:nvPr/>
        </p:nvSpPr>
        <p:spPr bwMode="auto">
          <a:xfrm>
            <a:off x="1443721" y="264089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2" name="Freeform 86"/>
          <p:cNvSpPr>
            <a:spLocks/>
          </p:cNvSpPr>
          <p:nvPr/>
        </p:nvSpPr>
        <p:spPr bwMode="auto">
          <a:xfrm>
            <a:off x="1846515" y="2672281"/>
            <a:ext cx="0" cy="5231"/>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3" name="Freeform 87"/>
          <p:cNvSpPr>
            <a:spLocks/>
          </p:cNvSpPr>
          <p:nvPr/>
        </p:nvSpPr>
        <p:spPr bwMode="auto">
          <a:xfrm>
            <a:off x="1846515" y="2682743"/>
            <a:ext cx="0" cy="7847"/>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4" name="Rectangle 88"/>
          <p:cNvSpPr>
            <a:spLocks noChangeArrowheads="1"/>
          </p:cNvSpPr>
          <p:nvPr/>
        </p:nvSpPr>
        <p:spPr bwMode="auto">
          <a:xfrm>
            <a:off x="1828206" y="2633046"/>
            <a:ext cx="2616" cy="2616"/>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5" name="Freeform 89"/>
          <p:cNvSpPr>
            <a:spLocks/>
          </p:cNvSpPr>
          <p:nvPr/>
        </p:nvSpPr>
        <p:spPr bwMode="auto">
          <a:xfrm>
            <a:off x="1433259" y="2677512"/>
            <a:ext cx="5231"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6" name="Freeform 90"/>
          <p:cNvSpPr>
            <a:spLocks/>
          </p:cNvSpPr>
          <p:nvPr/>
        </p:nvSpPr>
        <p:spPr bwMode="auto">
          <a:xfrm>
            <a:off x="1438490" y="265920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7" name="Freeform 91"/>
          <p:cNvSpPr>
            <a:spLocks/>
          </p:cNvSpPr>
          <p:nvPr/>
        </p:nvSpPr>
        <p:spPr bwMode="auto">
          <a:xfrm>
            <a:off x="1443721" y="265135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8" name="Freeform 92"/>
          <p:cNvSpPr>
            <a:spLocks/>
          </p:cNvSpPr>
          <p:nvPr/>
        </p:nvSpPr>
        <p:spPr bwMode="auto">
          <a:xfrm>
            <a:off x="1438490" y="2664434"/>
            <a:ext cx="0" cy="7847"/>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9" name="Freeform 93"/>
          <p:cNvSpPr>
            <a:spLocks/>
          </p:cNvSpPr>
          <p:nvPr/>
        </p:nvSpPr>
        <p:spPr bwMode="auto">
          <a:xfrm>
            <a:off x="1401871" y="2614740"/>
            <a:ext cx="481259" cy="434181"/>
          </a:xfrm>
          <a:custGeom>
            <a:avLst/>
            <a:gdLst>
              <a:gd name="T0" fmla="*/ 74 w 78"/>
              <a:gd name="T1" fmla="*/ 17 h 70"/>
              <a:gd name="T2" fmla="*/ 72 w 78"/>
              <a:gd name="T3" fmla="*/ 17 h 70"/>
              <a:gd name="T4" fmla="*/ 72 w 78"/>
              <a:gd name="T5" fmla="*/ 12 h 70"/>
              <a:gd name="T6" fmla="*/ 72 w 78"/>
              <a:gd name="T7" fmla="*/ 11 h 70"/>
              <a:gd name="T8" fmla="*/ 72 w 78"/>
              <a:gd name="T9" fmla="*/ 10 h 70"/>
              <a:gd name="T10" fmla="*/ 72 w 78"/>
              <a:gd name="T11" fmla="*/ 9 h 70"/>
              <a:gd name="T12" fmla="*/ 72 w 78"/>
              <a:gd name="T13" fmla="*/ 9 h 70"/>
              <a:gd name="T14" fmla="*/ 71 w 78"/>
              <a:gd name="T15" fmla="*/ 8 h 70"/>
              <a:gd name="T16" fmla="*/ 71 w 78"/>
              <a:gd name="T17" fmla="*/ 7 h 70"/>
              <a:gd name="T18" fmla="*/ 71 w 78"/>
              <a:gd name="T19" fmla="*/ 7 h 70"/>
              <a:gd name="T20" fmla="*/ 70 w 78"/>
              <a:gd name="T21" fmla="*/ 5 h 70"/>
              <a:gd name="T22" fmla="*/ 70 w 78"/>
              <a:gd name="T23" fmla="*/ 5 h 70"/>
              <a:gd name="T24" fmla="*/ 70 w 78"/>
              <a:gd name="T25" fmla="*/ 4 h 70"/>
              <a:gd name="T26" fmla="*/ 69 w 78"/>
              <a:gd name="T27" fmla="*/ 4 h 70"/>
              <a:gd name="T28" fmla="*/ 69 w 78"/>
              <a:gd name="T29" fmla="*/ 3 h 70"/>
              <a:gd name="T30" fmla="*/ 69 w 78"/>
              <a:gd name="T31" fmla="*/ 3 h 70"/>
              <a:gd name="T32" fmla="*/ 63 w 78"/>
              <a:gd name="T33" fmla="*/ 3 h 70"/>
              <a:gd name="T34" fmla="*/ 52 w 78"/>
              <a:gd name="T35" fmla="*/ 1 h 70"/>
              <a:gd name="T36" fmla="*/ 32 w 78"/>
              <a:gd name="T37" fmla="*/ 3 h 70"/>
              <a:gd name="T38" fmla="*/ 10 w 78"/>
              <a:gd name="T39" fmla="*/ 0 h 70"/>
              <a:gd name="T40" fmla="*/ 7 w 78"/>
              <a:gd name="T41" fmla="*/ 4 h 70"/>
              <a:gd name="T42" fmla="*/ 7 w 78"/>
              <a:gd name="T43" fmla="*/ 4 h 70"/>
              <a:gd name="T44" fmla="*/ 7 w 78"/>
              <a:gd name="T45" fmla="*/ 6 h 70"/>
              <a:gd name="T46" fmla="*/ 7 w 78"/>
              <a:gd name="T47" fmla="*/ 6 h 70"/>
              <a:gd name="T48" fmla="*/ 6 w 78"/>
              <a:gd name="T49" fmla="*/ 7 h 70"/>
              <a:gd name="T50" fmla="*/ 6 w 78"/>
              <a:gd name="T51" fmla="*/ 7 h 70"/>
              <a:gd name="T52" fmla="*/ 6 w 78"/>
              <a:gd name="T53" fmla="*/ 8 h 70"/>
              <a:gd name="T54" fmla="*/ 6 w 78"/>
              <a:gd name="T55" fmla="*/ 9 h 70"/>
              <a:gd name="T56" fmla="*/ 6 w 78"/>
              <a:gd name="T57" fmla="*/ 10 h 70"/>
              <a:gd name="T58" fmla="*/ 5 w 78"/>
              <a:gd name="T59" fmla="*/ 10 h 70"/>
              <a:gd name="T60" fmla="*/ 5 w 78"/>
              <a:gd name="T61" fmla="*/ 12 h 70"/>
              <a:gd name="T62" fmla="*/ 5 w 78"/>
              <a:gd name="T63" fmla="*/ 17 h 70"/>
              <a:gd name="T64" fmla="*/ 4 w 78"/>
              <a:gd name="T65" fmla="*/ 17 h 70"/>
              <a:gd name="T66" fmla="*/ 0 w 78"/>
              <a:gd name="T67" fmla="*/ 23 h 70"/>
              <a:gd name="T68" fmla="*/ 0 w 78"/>
              <a:gd name="T69" fmla="*/ 35 h 70"/>
              <a:gd name="T70" fmla="*/ 5 w 78"/>
              <a:gd name="T71" fmla="*/ 40 h 70"/>
              <a:gd name="T72" fmla="*/ 24 w 78"/>
              <a:gd name="T73" fmla="*/ 70 h 70"/>
              <a:gd name="T74" fmla="*/ 53 w 78"/>
              <a:gd name="T75" fmla="*/ 70 h 70"/>
              <a:gd name="T76" fmla="*/ 72 w 78"/>
              <a:gd name="T77" fmla="*/ 40 h 70"/>
              <a:gd name="T78" fmla="*/ 78 w 78"/>
              <a:gd name="T79" fmla="*/ 35 h 70"/>
              <a:gd name="T80" fmla="*/ 78 w 78"/>
              <a:gd name="T81" fmla="*/ 23 h 70"/>
              <a:gd name="T82" fmla="*/ 74 w 78"/>
              <a:gd name="T83" fmla="*/ 1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8" h="70">
                <a:moveTo>
                  <a:pt x="74" y="17"/>
                </a:moveTo>
                <a:cubicBezTo>
                  <a:pt x="73" y="17"/>
                  <a:pt x="73" y="17"/>
                  <a:pt x="72" y="17"/>
                </a:cubicBezTo>
                <a:cubicBezTo>
                  <a:pt x="72" y="12"/>
                  <a:pt x="72" y="12"/>
                  <a:pt x="72" y="12"/>
                </a:cubicBezTo>
                <a:cubicBezTo>
                  <a:pt x="72" y="12"/>
                  <a:pt x="72" y="11"/>
                  <a:pt x="72" y="11"/>
                </a:cubicBezTo>
                <a:cubicBezTo>
                  <a:pt x="72" y="10"/>
                  <a:pt x="72" y="10"/>
                  <a:pt x="72" y="10"/>
                </a:cubicBezTo>
                <a:cubicBezTo>
                  <a:pt x="72" y="10"/>
                  <a:pt x="72" y="9"/>
                  <a:pt x="72" y="9"/>
                </a:cubicBezTo>
                <a:cubicBezTo>
                  <a:pt x="72" y="9"/>
                  <a:pt x="72" y="9"/>
                  <a:pt x="72" y="9"/>
                </a:cubicBezTo>
                <a:cubicBezTo>
                  <a:pt x="71" y="8"/>
                  <a:pt x="71" y="8"/>
                  <a:pt x="71" y="8"/>
                </a:cubicBezTo>
                <a:cubicBezTo>
                  <a:pt x="71" y="8"/>
                  <a:pt x="71" y="7"/>
                  <a:pt x="71" y="7"/>
                </a:cubicBezTo>
                <a:cubicBezTo>
                  <a:pt x="71" y="7"/>
                  <a:pt x="71" y="7"/>
                  <a:pt x="71" y="7"/>
                </a:cubicBezTo>
                <a:cubicBezTo>
                  <a:pt x="71" y="6"/>
                  <a:pt x="71" y="6"/>
                  <a:pt x="70" y="5"/>
                </a:cubicBezTo>
                <a:cubicBezTo>
                  <a:pt x="70" y="5"/>
                  <a:pt x="70" y="5"/>
                  <a:pt x="70" y="5"/>
                </a:cubicBezTo>
                <a:cubicBezTo>
                  <a:pt x="70" y="4"/>
                  <a:pt x="70" y="4"/>
                  <a:pt x="70" y="4"/>
                </a:cubicBezTo>
                <a:cubicBezTo>
                  <a:pt x="70" y="4"/>
                  <a:pt x="70" y="4"/>
                  <a:pt x="69" y="4"/>
                </a:cubicBezTo>
                <a:cubicBezTo>
                  <a:pt x="69" y="3"/>
                  <a:pt x="69" y="3"/>
                  <a:pt x="69" y="3"/>
                </a:cubicBezTo>
                <a:cubicBezTo>
                  <a:pt x="69" y="3"/>
                  <a:pt x="69" y="3"/>
                  <a:pt x="69" y="3"/>
                </a:cubicBezTo>
                <a:cubicBezTo>
                  <a:pt x="67" y="3"/>
                  <a:pt x="65" y="3"/>
                  <a:pt x="63" y="3"/>
                </a:cubicBezTo>
                <a:cubicBezTo>
                  <a:pt x="58" y="3"/>
                  <a:pt x="54" y="2"/>
                  <a:pt x="52" y="1"/>
                </a:cubicBezTo>
                <a:cubicBezTo>
                  <a:pt x="47" y="2"/>
                  <a:pt x="40" y="3"/>
                  <a:pt x="32" y="3"/>
                </a:cubicBezTo>
                <a:cubicBezTo>
                  <a:pt x="23" y="3"/>
                  <a:pt x="15" y="2"/>
                  <a:pt x="10" y="0"/>
                </a:cubicBezTo>
                <a:cubicBezTo>
                  <a:pt x="9" y="2"/>
                  <a:pt x="8" y="3"/>
                  <a:pt x="7" y="4"/>
                </a:cubicBezTo>
                <a:cubicBezTo>
                  <a:pt x="7" y="4"/>
                  <a:pt x="7" y="4"/>
                  <a:pt x="7" y="4"/>
                </a:cubicBezTo>
                <a:cubicBezTo>
                  <a:pt x="7" y="5"/>
                  <a:pt x="7" y="5"/>
                  <a:pt x="7" y="6"/>
                </a:cubicBezTo>
                <a:cubicBezTo>
                  <a:pt x="7" y="6"/>
                  <a:pt x="7" y="6"/>
                  <a:pt x="7" y="6"/>
                </a:cubicBezTo>
                <a:cubicBezTo>
                  <a:pt x="7" y="6"/>
                  <a:pt x="6" y="7"/>
                  <a:pt x="6" y="7"/>
                </a:cubicBezTo>
                <a:cubicBezTo>
                  <a:pt x="6" y="7"/>
                  <a:pt x="6" y="7"/>
                  <a:pt x="6" y="7"/>
                </a:cubicBezTo>
                <a:cubicBezTo>
                  <a:pt x="6" y="8"/>
                  <a:pt x="6" y="8"/>
                  <a:pt x="6" y="8"/>
                </a:cubicBezTo>
                <a:cubicBezTo>
                  <a:pt x="6" y="9"/>
                  <a:pt x="6" y="9"/>
                  <a:pt x="6" y="9"/>
                </a:cubicBezTo>
                <a:cubicBezTo>
                  <a:pt x="6" y="9"/>
                  <a:pt x="6" y="10"/>
                  <a:pt x="6" y="10"/>
                </a:cubicBezTo>
                <a:cubicBezTo>
                  <a:pt x="5" y="10"/>
                  <a:pt x="5" y="10"/>
                  <a:pt x="5" y="10"/>
                </a:cubicBezTo>
                <a:cubicBezTo>
                  <a:pt x="5" y="11"/>
                  <a:pt x="5" y="12"/>
                  <a:pt x="5" y="12"/>
                </a:cubicBezTo>
                <a:cubicBezTo>
                  <a:pt x="5" y="17"/>
                  <a:pt x="5" y="17"/>
                  <a:pt x="5" y="17"/>
                </a:cubicBezTo>
                <a:cubicBezTo>
                  <a:pt x="5" y="17"/>
                  <a:pt x="5" y="17"/>
                  <a:pt x="4" y="17"/>
                </a:cubicBezTo>
                <a:cubicBezTo>
                  <a:pt x="2" y="17"/>
                  <a:pt x="0" y="20"/>
                  <a:pt x="0" y="23"/>
                </a:cubicBezTo>
                <a:cubicBezTo>
                  <a:pt x="0" y="35"/>
                  <a:pt x="0" y="35"/>
                  <a:pt x="0" y="35"/>
                </a:cubicBezTo>
                <a:cubicBezTo>
                  <a:pt x="0" y="38"/>
                  <a:pt x="2" y="40"/>
                  <a:pt x="5" y="40"/>
                </a:cubicBezTo>
                <a:cubicBezTo>
                  <a:pt x="5" y="40"/>
                  <a:pt x="15" y="70"/>
                  <a:pt x="24" y="70"/>
                </a:cubicBezTo>
                <a:cubicBezTo>
                  <a:pt x="53" y="70"/>
                  <a:pt x="53" y="70"/>
                  <a:pt x="53" y="70"/>
                </a:cubicBezTo>
                <a:cubicBezTo>
                  <a:pt x="62" y="70"/>
                  <a:pt x="72" y="40"/>
                  <a:pt x="72" y="40"/>
                </a:cubicBezTo>
                <a:cubicBezTo>
                  <a:pt x="75" y="40"/>
                  <a:pt x="78" y="38"/>
                  <a:pt x="78" y="35"/>
                </a:cubicBezTo>
                <a:cubicBezTo>
                  <a:pt x="78" y="23"/>
                  <a:pt x="78" y="23"/>
                  <a:pt x="78" y="23"/>
                </a:cubicBezTo>
                <a:cubicBezTo>
                  <a:pt x="78" y="20"/>
                  <a:pt x="76" y="18"/>
                  <a:pt x="74" y="17"/>
                </a:cubicBezTo>
                <a:close/>
              </a:path>
            </a:pathLst>
          </a:custGeom>
          <a:solidFill>
            <a:srgbClr val="FFE093"/>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0" name="Rectangle 94"/>
          <p:cNvSpPr>
            <a:spLocks noChangeArrowheads="1"/>
          </p:cNvSpPr>
          <p:nvPr/>
        </p:nvSpPr>
        <p:spPr bwMode="auto">
          <a:xfrm>
            <a:off x="1265862" y="4503164"/>
            <a:ext cx="753278" cy="4969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1" name="Freeform 61"/>
          <p:cNvSpPr>
            <a:spLocks noEditPoints="1"/>
          </p:cNvSpPr>
          <p:nvPr/>
        </p:nvSpPr>
        <p:spPr bwMode="auto">
          <a:xfrm>
            <a:off x="1421473" y="2679420"/>
            <a:ext cx="461657" cy="151901"/>
          </a:xfrm>
          <a:custGeom>
            <a:avLst/>
            <a:gdLst>
              <a:gd name="T0" fmla="*/ 66 w 67"/>
              <a:gd name="T1" fmla="*/ 2 h 22"/>
              <a:gd name="T2" fmla="*/ 49 w 67"/>
              <a:gd name="T3" fmla="*/ 1 h 22"/>
              <a:gd name="T4" fmla="*/ 33 w 67"/>
              <a:gd name="T5" fmla="*/ 5 h 22"/>
              <a:gd name="T6" fmla="*/ 17 w 67"/>
              <a:gd name="T7" fmla="*/ 1 h 22"/>
              <a:gd name="T8" fmla="*/ 0 w 67"/>
              <a:gd name="T9" fmla="*/ 2 h 22"/>
              <a:gd name="T10" fmla="*/ 0 w 67"/>
              <a:gd name="T11" fmla="*/ 4 h 22"/>
              <a:gd name="T12" fmla="*/ 2 w 67"/>
              <a:gd name="T13" fmla="*/ 7 h 22"/>
              <a:gd name="T14" fmla="*/ 4 w 67"/>
              <a:gd name="T15" fmla="*/ 12 h 22"/>
              <a:gd name="T16" fmla="*/ 20 w 67"/>
              <a:gd name="T17" fmla="*/ 21 h 22"/>
              <a:gd name="T18" fmla="*/ 31 w 67"/>
              <a:gd name="T19" fmla="*/ 9 h 22"/>
              <a:gd name="T20" fmla="*/ 33 w 67"/>
              <a:gd name="T21" fmla="*/ 8 h 22"/>
              <a:gd name="T22" fmla="*/ 36 w 67"/>
              <a:gd name="T23" fmla="*/ 9 h 22"/>
              <a:gd name="T24" fmla="*/ 47 w 67"/>
              <a:gd name="T25" fmla="*/ 21 h 22"/>
              <a:gd name="T26" fmla="*/ 62 w 67"/>
              <a:gd name="T27" fmla="*/ 12 h 22"/>
              <a:gd name="T28" fmla="*/ 64 w 67"/>
              <a:gd name="T29" fmla="*/ 7 h 22"/>
              <a:gd name="T30" fmla="*/ 66 w 67"/>
              <a:gd name="T31" fmla="*/ 4 h 22"/>
              <a:gd name="T32" fmla="*/ 66 w 67"/>
              <a:gd name="T33" fmla="*/ 2 h 22"/>
              <a:gd name="T34" fmla="*/ 25 w 67"/>
              <a:gd name="T35" fmla="*/ 16 h 22"/>
              <a:gd name="T36" fmla="*/ 13 w 67"/>
              <a:gd name="T37" fmla="*/ 19 h 22"/>
              <a:gd name="T38" fmla="*/ 6 w 67"/>
              <a:gd name="T39" fmla="*/ 8 h 22"/>
              <a:gd name="T40" fmla="*/ 18 w 67"/>
              <a:gd name="T41" fmla="*/ 3 h 22"/>
              <a:gd name="T42" fmla="*/ 26 w 67"/>
              <a:gd name="T43" fmla="*/ 5 h 22"/>
              <a:gd name="T44" fmla="*/ 25 w 67"/>
              <a:gd name="T45" fmla="*/ 16 h 22"/>
              <a:gd name="T46" fmla="*/ 53 w 67"/>
              <a:gd name="T47" fmla="*/ 19 h 22"/>
              <a:gd name="T48" fmla="*/ 41 w 67"/>
              <a:gd name="T49" fmla="*/ 16 h 22"/>
              <a:gd name="T50" fmla="*/ 41 w 67"/>
              <a:gd name="T51" fmla="*/ 5 h 22"/>
              <a:gd name="T52" fmla="*/ 49 w 67"/>
              <a:gd name="T53" fmla="*/ 3 h 22"/>
              <a:gd name="T54" fmla="*/ 61 w 67"/>
              <a:gd name="T55" fmla="*/ 8 h 22"/>
              <a:gd name="T56" fmla="*/ 53 w 67"/>
              <a:gd name="T57"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22">
                <a:moveTo>
                  <a:pt x="66" y="2"/>
                </a:moveTo>
                <a:cubicBezTo>
                  <a:pt x="66" y="2"/>
                  <a:pt x="56" y="0"/>
                  <a:pt x="49" y="1"/>
                </a:cubicBezTo>
                <a:cubicBezTo>
                  <a:pt x="42" y="2"/>
                  <a:pt x="37" y="5"/>
                  <a:pt x="33" y="5"/>
                </a:cubicBezTo>
                <a:cubicBezTo>
                  <a:pt x="30" y="5"/>
                  <a:pt x="24" y="2"/>
                  <a:pt x="17" y="1"/>
                </a:cubicBezTo>
                <a:cubicBezTo>
                  <a:pt x="10" y="0"/>
                  <a:pt x="0" y="2"/>
                  <a:pt x="0" y="2"/>
                </a:cubicBezTo>
                <a:cubicBezTo>
                  <a:pt x="0" y="2"/>
                  <a:pt x="0" y="3"/>
                  <a:pt x="0" y="4"/>
                </a:cubicBezTo>
                <a:cubicBezTo>
                  <a:pt x="1" y="5"/>
                  <a:pt x="1" y="6"/>
                  <a:pt x="2" y="7"/>
                </a:cubicBezTo>
                <a:cubicBezTo>
                  <a:pt x="4" y="8"/>
                  <a:pt x="4" y="12"/>
                  <a:pt x="4" y="12"/>
                </a:cubicBezTo>
                <a:cubicBezTo>
                  <a:pt x="6" y="20"/>
                  <a:pt x="12" y="22"/>
                  <a:pt x="20" y="21"/>
                </a:cubicBezTo>
                <a:cubicBezTo>
                  <a:pt x="28" y="19"/>
                  <a:pt x="30" y="11"/>
                  <a:pt x="31" y="9"/>
                </a:cubicBezTo>
                <a:cubicBezTo>
                  <a:pt x="32" y="8"/>
                  <a:pt x="33" y="8"/>
                  <a:pt x="33" y="8"/>
                </a:cubicBezTo>
                <a:cubicBezTo>
                  <a:pt x="33" y="8"/>
                  <a:pt x="35" y="8"/>
                  <a:pt x="36" y="9"/>
                </a:cubicBezTo>
                <a:cubicBezTo>
                  <a:pt x="37" y="11"/>
                  <a:pt x="39" y="19"/>
                  <a:pt x="47" y="21"/>
                </a:cubicBezTo>
                <a:cubicBezTo>
                  <a:pt x="55" y="22"/>
                  <a:pt x="61" y="20"/>
                  <a:pt x="62" y="12"/>
                </a:cubicBezTo>
                <a:cubicBezTo>
                  <a:pt x="62" y="12"/>
                  <a:pt x="62" y="8"/>
                  <a:pt x="64" y="7"/>
                </a:cubicBezTo>
                <a:cubicBezTo>
                  <a:pt x="66" y="6"/>
                  <a:pt x="66" y="5"/>
                  <a:pt x="66" y="4"/>
                </a:cubicBezTo>
                <a:cubicBezTo>
                  <a:pt x="66" y="3"/>
                  <a:pt x="67" y="2"/>
                  <a:pt x="66" y="2"/>
                </a:cubicBezTo>
                <a:close/>
                <a:moveTo>
                  <a:pt x="25" y="16"/>
                </a:moveTo>
                <a:cubicBezTo>
                  <a:pt x="23" y="19"/>
                  <a:pt x="19" y="20"/>
                  <a:pt x="13" y="19"/>
                </a:cubicBezTo>
                <a:cubicBezTo>
                  <a:pt x="8" y="18"/>
                  <a:pt x="6" y="14"/>
                  <a:pt x="6" y="8"/>
                </a:cubicBezTo>
                <a:cubicBezTo>
                  <a:pt x="6" y="1"/>
                  <a:pt x="18" y="3"/>
                  <a:pt x="18" y="3"/>
                </a:cubicBezTo>
                <a:cubicBezTo>
                  <a:pt x="22" y="4"/>
                  <a:pt x="22" y="4"/>
                  <a:pt x="26" y="5"/>
                </a:cubicBezTo>
                <a:cubicBezTo>
                  <a:pt x="30" y="6"/>
                  <a:pt x="27" y="13"/>
                  <a:pt x="25" y="16"/>
                </a:cubicBezTo>
                <a:close/>
                <a:moveTo>
                  <a:pt x="53" y="19"/>
                </a:moveTo>
                <a:cubicBezTo>
                  <a:pt x="48" y="20"/>
                  <a:pt x="44" y="19"/>
                  <a:pt x="41" y="16"/>
                </a:cubicBezTo>
                <a:cubicBezTo>
                  <a:pt x="39" y="13"/>
                  <a:pt x="37" y="6"/>
                  <a:pt x="41" y="5"/>
                </a:cubicBezTo>
                <a:cubicBezTo>
                  <a:pt x="44" y="4"/>
                  <a:pt x="44" y="4"/>
                  <a:pt x="49" y="3"/>
                </a:cubicBezTo>
                <a:cubicBezTo>
                  <a:pt x="49" y="3"/>
                  <a:pt x="61" y="1"/>
                  <a:pt x="61" y="8"/>
                </a:cubicBezTo>
                <a:cubicBezTo>
                  <a:pt x="61" y="14"/>
                  <a:pt x="59" y="18"/>
                  <a:pt x="53" y="1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5"/>
          <p:cNvSpPr>
            <a:spLocks/>
          </p:cNvSpPr>
          <p:nvPr/>
        </p:nvSpPr>
        <p:spPr bwMode="auto">
          <a:xfrm rot="18750993">
            <a:off x="906160" y="4035177"/>
            <a:ext cx="490458" cy="699266"/>
          </a:xfrm>
          <a:custGeom>
            <a:avLst/>
            <a:gdLst>
              <a:gd name="T0" fmla="*/ 0 w 505"/>
              <a:gd name="T1" fmla="*/ 704 h 720"/>
              <a:gd name="T2" fmla="*/ 17 w 505"/>
              <a:gd name="T3" fmla="*/ 720 h 720"/>
              <a:gd name="T4" fmla="*/ 488 w 505"/>
              <a:gd name="T5" fmla="*/ 720 h 720"/>
              <a:gd name="T6" fmla="*/ 505 w 505"/>
              <a:gd name="T7" fmla="*/ 704 h 720"/>
              <a:gd name="T8" fmla="*/ 505 w 505"/>
              <a:gd name="T9" fmla="*/ 17 h 720"/>
              <a:gd name="T10" fmla="*/ 488 w 505"/>
              <a:gd name="T11" fmla="*/ 0 h 720"/>
              <a:gd name="T12" fmla="*/ 17 w 505"/>
              <a:gd name="T13" fmla="*/ 0 h 720"/>
              <a:gd name="T14" fmla="*/ 0 w 505"/>
              <a:gd name="T15" fmla="*/ 17 h 720"/>
              <a:gd name="T16" fmla="*/ 0 w 505"/>
              <a:gd name="T17" fmla="*/ 704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5" h="720">
                <a:moveTo>
                  <a:pt x="0" y="704"/>
                </a:moveTo>
                <a:cubicBezTo>
                  <a:pt x="0" y="713"/>
                  <a:pt x="8" y="720"/>
                  <a:pt x="17" y="720"/>
                </a:cubicBezTo>
                <a:cubicBezTo>
                  <a:pt x="488" y="720"/>
                  <a:pt x="488" y="720"/>
                  <a:pt x="488" y="720"/>
                </a:cubicBezTo>
                <a:cubicBezTo>
                  <a:pt x="498" y="720"/>
                  <a:pt x="505" y="713"/>
                  <a:pt x="505" y="704"/>
                </a:cubicBezTo>
                <a:cubicBezTo>
                  <a:pt x="505" y="17"/>
                  <a:pt x="505" y="17"/>
                  <a:pt x="505" y="17"/>
                </a:cubicBezTo>
                <a:cubicBezTo>
                  <a:pt x="505" y="8"/>
                  <a:pt x="498" y="0"/>
                  <a:pt x="488" y="0"/>
                </a:cubicBezTo>
                <a:cubicBezTo>
                  <a:pt x="17" y="0"/>
                  <a:pt x="17" y="0"/>
                  <a:pt x="17" y="0"/>
                </a:cubicBezTo>
                <a:cubicBezTo>
                  <a:pt x="8" y="0"/>
                  <a:pt x="0" y="8"/>
                  <a:pt x="0" y="17"/>
                </a:cubicBezTo>
                <a:lnTo>
                  <a:pt x="0" y="70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6"/>
          <p:cNvSpPr>
            <a:spLocks noChangeArrowheads="1"/>
          </p:cNvSpPr>
          <p:nvPr/>
        </p:nvSpPr>
        <p:spPr bwMode="auto">
          <a:xfrm rot="18750993">
            <a:off x="934052" y="4062558"/>
            <a:ext cx="435654" cy="644463"/>
          </a:xfrm>
          <a:prstGeom prst="rect">
            <a:avLst/>
          </a:prstGeom>
          <a:solidFill>
            <a:schemeClr val="tx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TextBox 39"/>
          <p:cNvSpPr txBox="1"/>
          <p:nvPr/>
        </p:nvSpPr>
        <p:spPr>
          <a:xfrm>
            <a:off x="4616824" y="1680630"/>
            <a:ext cx="6750422"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Currently, there are </a:t>
            </a:r>
            <a:r>
              <a:rPr lang="en-US" sz="2400" dirty="0">
                <a:solidFill>
                  <a:schemeClr val="accent2"/>
                </a:solidFill>
              </a:rPr>
              <a:t>1 million </a:t>
            </a:r>
            <a:r>
              <a:rPr lang="en-US" sz="2400" dirty="0">
                <a:gradFill>
                  <a:gsLst>
                    <a:gs pos="2917">
                      <a:schemeClr val="tx1"/>
                    </a:gs>
                    <a:gs pos="30000">
                      <a:schemeClr val="tx1"/>
                    </a:gs>
                  </a:gsLst>
                  <a:lin ang="5400000" scaled="0"/>
                </a:gradFill>
              </a:rPr>
              <a:t>cybersecurity job openings globally</a:t>
            </a:r>
          </a:p>
        </p:txBody>
      </p:sp>
      <p:sp>
        <p:nvSpPr>
          <p:cNvPr id="41" name="TextBox 40"/>
          <p:cNvSpPr txBox="1"/>
          <p:nvPr/>
        </p:nvSpPr>
        <p:spPr>
          <a:xfrm>
            <a:off x="4616823" y="2956593"/>
            <a:ext cx="6750423" cy="1292662"/>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On average, cybersecurity professionals receive compensation of </a:t>
            </a:r>
            <a:r>
              <a:rPr lang="en-US" sz="2400" dirty="0">
                <a:solidFill>
                  <a:schemeClr val="accent2"/>
                </a:solidFill>
              </a:rPr>
              <a:t>9% more </a:t>
            </a:r>
            <a:r>
              <a:rPr lang="en-US" sz="2400" dirty="0">
                <a:gradFill>
                  <a:gsLst>
                    <a:gs pos="2917">
                      <a:schemeClr val="tx1"/>
                    </a:gs>
                    <a:gs pos="30000">
                      <a:schemeClr val="tx1"/>
                    </a:gs>
                  </a:gsLst>
                  <a:lin ang="5400000" scaled="0"/>
                </a:gradFill>
              </a:rPr>
              <a:t>than other IT workers</a:t>
            </a:r>
          </a:p>
        </p:txBody>
      </p:sp>
      <p:sp>
        <p:nvSpPr>
          <p:cNvPr id="42" name="TextBox 41"/>
          <p:cNvSpPr txBox="1"/>
          <p:nvPr/>
        </p:nvSpPr>
        <p:spPr>
          <a:xfrm>
            <a:off x="4616823" y="4323280"/>
            <a:ext cx="6750423"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The market for cybersecurity is expected to </a:t>
            </a:r>
            <a:r>
              <a:rPr lang="en-US" sz="2400" dirty="0">
                <a:solidFill>
                  <a:schemeClr val="accent2"/>
                </a:solidFill>
              </a:rPr>
              <a:t>grow 350%</a:t>
            </a:r>
            <a:r>
              <a:rPr lang="en-US" sz="2400" dirty="0">
                <a:gradFill>
                  <a:gsLst>
                    <a:gs pos="2917">
                      <a:schemeClr val="tx1"/>
                    </a:gs>
                    <a:gs pos="30000">
                      <a:schemeClr val="tx1"/>
                    </a:gs>
                  </a:gsLst>
                  <a:lin ang="5400000" scaled="0"/>
                </a:gradFill>
              </a:rPr>
              <a:t> by 2020</a:t>
            </a:r>
          </a:p>
        </p:txBody>
      </p:sp>
      <p:grpSp>
        <p:nvGrpSpPr>
          <p:cNvPr id="3" name="Group 2"/>
          <p:cNvGrpSpPr/>
          <p:nvPr/>
        </p:nvGrpSpPr>
        <p:grpSpPr>
          <a:xfrm>
            <a:off x="2524847" y="2158893"/>
            <a:ext cx="2091976" cy="444854"/>
            <a:chOff x="2524847" y="2158893"/>
            <a:chExt cx="2091976" cy="444854"/>
          </a:xfrm>
        </p:grpSpPr>
        <p:cxnSp>
          <p:nvCxnSpPr>
            <p:cNvPr id="49" name="Straight Connector 48"/>
            <p:cNvCxnSpPr/>
            <p:nvPr/>
          </p:nvCxnSpPr>
          <p:spPr>
            <a:xfrm flipH="1">
              <a:off x="3585029" y="2158893"/>
              <a:ext cx="1031794" cy="0"/>
            </a:xfrm>
            <a:prstGeom prst="line">
              <a:avLst/>
            </a:prstGeom>
            <a:ln w="28575">
              <a:solidFill>
                <a:schemeClr val="tx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2524847" y="2158893"/>
              <a:ext cx="1060182" cy="444854"/>
            </a:xfrm>
            <a:prstGeom prst="line">
              <a:avLst/>
            </a:prstGeom>
            <a:ln w="28575">
              <a:solidFill>
                <a:schemeClr val="tx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2" name="Group 31"/>
          <p:cNvGrpSpPr/>
          <p:nvPr/>
        </p:nvGrpSpPr>
        <p:grpSpPr>
          <a:xfrm>
            <a:off x="2524847" y="2912912"/>
            <a:ext cx="2063588" cy="537091"/>
            <a:chOff x="2524847" y="2912912"/>
            <a:chExt cx="2063588" cy="537091"/>
          </a:xfrm>
        </p:grpSpPr>
        <p:cxnSp>
          <p:nvCxnSpPr>
            <p:cNvPr id="51" name="Straight Connector 50"/>
            <p:cNvCxnSpPr/>
            <p:nvPr/>
          </p:nvCxnSpPr>
          <p:spPr>
            <a:xfrm flipH="1">
              <a:off x="3556641" y="3436927"/>
              <a:ext cx="1031794" cy="0"/>
            </a:xfrm>
            <a:prstGeom prst="line">
              <a:avLst/>
            </a:prstGeom>
            <a:ln w="28575">
              <a:solidFill>
                <a:schemeClr val="tx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flipV="1">
              <a:off x="2524847" y="2912912"/>
              <a:ext cx="1031794" cy="537091"/>
            </a:xfrm>
            <a:prstGeom prst="line">
              <a:avLst/>
            </a:prstGeom>
            <a:ln w="28575">
              <a:solidFill>
                <a:schemeClr val="tx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5" name="Group 34"/>
          <p:cNvGrpSpPr/>
          <p:nvPr/>
        </p:nvGrpSpPr>
        <p:grpSpPr>
          <a:xfrm>
            <a:off x="2513475" y="3267770"/>
            <a:ext cx="2103348" cy="1495341"/>
            <a:chOff x="2513475" y="3267770"/>
            <a:chExt cx="2103348" cy="1495341"/>
          </a:xfrm>
        </p:grpSpPr>
        <p:cxnSp>
          <p:nvCxnSpPr>
            <p:cNvPr id="52" name="Straight Connector 51"/>
            <p:cNvCxnSpPr/>
            <p:nvPr/>
          </p:nvCxnSpPr>
          <p:spPr>
            <a:xfrm flipH="1">
              <a:off x="3585029" y="4763111"/>
              <a:ext cx="1031794" cy="0"/>
            </a:xfrm>
            <a:prstGeom prst="line">
              <a:avLst/>
            </a:prstGeom>
            <a:ln w="28575">
              <a:solidFill>
                <a:schemeClr val="tx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flipV="1">
              <a:off x="2513475" y="3267770"/>
              <a:ext cx="1071554" cy="1495341"/>
            </a:xfrm>
            <a:prstGeom prst="line">
              <a:avLst/>
            </a:prstGeom>
            <a:ln w="28575">
              <a:solidFill>
                <a:schemeClr val="tx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549860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1000"/>
                                        <p:tgtEl>
                                          <p:spTgt spid="3"/>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wipe(left)">
                                      <p:cBhvr>
                                        <p:cTn id="11" dur="1000"/>
                                        <p:tgtEl>
                                          <p:spTgt spid="32"/>
                                        </p:tgtEl>
                                      </p:cBhvr>
                                    </p:animEffect>
                                  </p:childTnLst>
                                </p:cTn>
                              </p:par>
                            </p:childTnLst>
                          </p:cTn>
                        </p:par>
                        <p:par>
                          <p:cTn id="12" fill="hold">
                            <p:stCondLst>
                              <p:cond delay="2000"/>
                            </p:stCondLst>
                            <p:childTnLst>
                              <p:par>
                                <p:cTn id="13" presetID="22" presetClass="entr" presetSubtype="8" fill="hold" nodeType="afterEffect">
                                  <p:stCondLst>
                                    <p:cond delay="0"/>
                                  </p:stCondLst>
                                  <p:childTnLst>
                                    <p:set>
                                      <p:cBhvr>
                                        <p:cTn id="14" dur="1" fill="hold">
                                          <p:stCondLst>
                                            <p:cond delay="0"/>
                                          </p:stCondLst>
                                        </p:cTn>
                                        <p:tgtEl>
                                          <p:spTgt spid="35"/>
                                        </p:tgtEl>
                                        <p:attrNameLst>
                                          <p:attrName>style.visibility</p:attrName>
                                        </p:attrNameLst>
                                      </p:cBhvr>
                                      <p:to>
                                        <p:strVal val="visible"/>
                                      </p:to>
                                    </p:set>
                                    <p:animEffect transition="in" filter="wipe(left)">
                                      <p:cBhvr>
                                        <p:cTn id="15"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nvPicPr>
        <p:blipFill>
          <a:blip r:embed="rId3">
            <a:extLst>
              <a:ext uri="{28A0092B-C50C-407E-A947-70E740481C1C}">
                <a14:useLocalDpi xmlns:a14="http://schemas.microsoft.com/office/drawing/2010/main" val="0"/>
              </a:ext>
            </a:extLst>
          </a:blip>
          <a:stretch>
            <a:fillRect/>
          </a:stretch>
        </p:blipFill>
        <p:spPr>
          <a:xfrm>
            <a:off x="-1" y="0"/>
            <a:ext cx="12192000" cy="8121746"/>
          </a:xfrm>
          <a:prstGeom prst="rect">
            <a:avLst/>
          </a:prstGeom>
        </p:spPr>
      </p:pic>
      <p:sp>
        <p:nvSpPr>
          <p:cNvPr id="2" name="Title 1"/>
          <p:cNvSpPr>
            <a:spLocks noGrp="1"/>
          </p:cNvSpPr>
          <p:nvPr>
            <p:ph type="title"/>
          </p:nvPr>
        </p:nvSpPr>
        <p:spPr>
          <a:xfrm>
            <a:off x="-2323" y="-2527"/>
            <a:ext cx="12194322" cy="812778"/>
          </a:xfrm>
          <a:prstGeom prst="rect">
            <a:avLst/>
          </a:prstGeom>
          <a:solidFill>
            <a:schemeClr val="bg1">
              <a:lumMod val="95000"/>
              <a:alpha val="65098"/>
            </a:schemeClr>
          </a:solidFill>
        </p:spPr>
        <p:txBody>
          <a:bodyPr/>
          <a:lstStyle/>
          <a:p>
            <a:r>
              <a:rPr lang="en-US" b="1">
                <a:solidFill>
                  <a:schemeClr val="tx2"/>
                </a:solidFill>
              </a:rPr>
              <a:t>The </a:t>
            </a:r>
            <a:r>
              <a:rPr lang="en-US" sz="4800" b="1" dirty="0">
                <a:solidFill>
                  <a:schemeClr val="tx2"/>
                </a:solidFill>
              </a:rPr>
              <a:t>Right</a:t>
            </a:r>
            <a:r>
              <a:rPr lang="en-US" b="1">
                <a:solidFill>
                  <a:schemeClr val="tx2"/>
                </a:solidFill>
              </a:rPr>
              <a:t> Person for </a:t>
            </a:r>
            <a:r>
              <a:rPr lang="en-US" b="1" dirty="0">
                <a:solidFill>
                  <a:schemeClr val="tx2"/>
                </a:solidFill>
              </a:rPr>
              <a:t>Cybersecurity</a:t>
            </a:r>
          </a:p>
        </p:txBody>
      </p:sp>
      <p:sp>
        <p:nvSpPr>
          <p:cNvPr id="13" name="Rectangle 12"/>
          <p:cNvSpPr/>
          <p:nvPr/>
        </p:nvSpPr>
        <p:spPr bwMode="auto">
          <a:xfrm>
            <a:off x="9258299" y="4003446"/>
            <a:ext cx="2781300" cy="243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2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4" name="Group 33"/>
          <p:cNvGrpSpPr/>
          <p:nvPr/>
        </p:nvGrpSpPr>
        <p:grpSpPr bwMode="black">
          <a:xfrm>
            <a:off x="11401591" y="4098176"/>
            <a:ext cx="554107" cy="1119152"/>
            <a:chOff x="2593975" y="2552700"/>
            <a:chExt cx="469901" cy="949325"/>
          </a:xfrm>
        </p:grpSpPr>
        <p:sp>
          <p:nvSpPr>
            <p:cNvPr id="15"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19" name="Rectangle 18"/>
          <p:cNvSpPr/>
          <p:nvPr/>
        </p:nvSpPr>
        <p:spPr>
          <a:xfrm>
            <a:off x="9392995" y="5006298"/>
            <a:ext cx="2356996" cy="1255728"/>
          </a:xfrm>
          <a:prstGeom prst="rect">
            <a:avLst/>
          </a:prstGeom>
        </p:spPr>
        <p:txBody>
          <a:bodyPr wrap="square">
            <a:spAutoFit/>
          </a:bodyPr>
          <a:lstStyle/>
          <a:p>
            <a:pPr defTabSz="932472" fontAlgn="base">
              <a:lnSpc>
                <a:spcPct val="90000"/>
              </a:lnSpc>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Willing </a:t>
            </a:r>
            <a:endParaRPr lang="en-US" sz="3200" dirty="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to be a </a:t>
            </a:r>
          </a:p>
          <a:p>
            <a:pPr defTabSz="932472" fontAlgn="base">
              <a:lnSpc>
                <a:spcPct val="90000"/>
              </a:lnSpc>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Super Hero</a:t>
            </a:r>
            <a:endParaRPr lang="en-US" sz="3200" dirty="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6324600" y="4006122"/>
            <a:ext cx="2781300" cy="2438400"/>
            <a:chOff x="6324600" y="4006122"/>
            <a:chExt cx="2781300" cy="2438400"/>
          </a:xfrm>
        </p:grpSpPr>
        <p:sp>
          <p:nvSpPr>
            <p:cNvPr id="12" name="Rectangle 11"/>
            <p:cNvSpPr/>
            <p:nvPr/>
          </p:nvSpPr>
          <p:spPr bwMode="auto">
            <a:xfrm>
              <a:off x="6324600" y="4006122"/>
              <a:ext cx="2781300" cy="243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2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p:nvSpPr>
          <p:spPr>
            <a:xfrm>
              <a:off x="6486306" y="5394096"/>
              <a:ext cx="2157135" cy="867930"/>
            </a:xfrm>
            <a:prstGeom prst="rect">
              <a:avLst/>
            </a:prstGeom>
          </p:spPr>
          <p:txBody>
            <a:bodyPr wrap="square">
              <a:spAutoFit/>
            </a:bodyPr>
            <a:lstStyle/>
            <a:p>
              <a:pPr defTabSz="932472" fontAlgn="base">
                <a:lnSpc>
                  <a:spcPct val="90000"/>
                </a:lnSpc>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Adapts</a:t>
              </a:r>
              <a:endParaRPr lang="en-US" sz="3200" dirty="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to change</a:t>
              </a:r>
              <a:endParaRPr lang="en-US" sz="32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 name="Group 61"/>
            <p:cNvGrpSpPr/>
            <p:nvPr/>
          </p:nvGrpSpPr>
          <p:grpSpPr bwMode="black">
            <a:xfrm>
              <a:off x="8210550" y="4182924"/>
              <a:ext cx="744674" cy="794116"/>
              <a:chOff x="1435100" y="3879850"/>
              <a:chExt cx="739775" cy="795338"/>
            </a:xfrm>
            <a:solidFill>
              <a:schemeClr val="tx1"/>
            </a:solidFill>
          </p:grpSpPr>
          <p:sp>
            <p:nvSpPr>
              <p:cNvPr id="21" name="Freeform 6"/>
              <p:cNvSpPr>
                <a:spLocks/>
              </p:cNvSpPr>
              <p:nvPr/>
            </p:nvSpPr>
            <p:spPr bwMode="black">
              <a:xfrm>
                <a:off x="1435100" y="4191000"/>
                <a:ext cx="106363" cy="10636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2" name="Freeform 7"/>
              <p:cNvSpPr>
                <a:spLocks/>
              </p:cNvSpPr>
              <p:nvPr/>
            </p:nvSpPr>
            <p:spPr bwMode="black">
              <a:xfrm>
                <a:off x="1620838" y="4208463"/>
                <a:ext cx="106363" cy="104775"/>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3" name="Freeform 8"/>
              <p:cNvSpPr>
                <a:spLocks/>
              </p:cNvSpPr>
              <p:nvPr/>
            </p:nvSpPr>
            <p:spPr bwMode="black">
              <a:xfrm>
                <a:off x="1876425" y="4184650"/>
                <a:ext cx="104775" cy="104775"/>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4" name="Freeform 9"/>
              <p:cNvSpPr>
                <a:spLocks/>
              </p:cNvSpPr>
              <p:nvPr/>
            </p:nvSpPr>
            <p:spPr bwMode="black">
              <a:xfrm>
                <a:off x="1498600" y="3879850"/>
                <a:ext cx="336550" cy="795338"/>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5" name="Oval 10"/>
              <p:cNvSpPr>
                <a:spLocks noChangeArrowheads="1"/>
              </p:cNvSpPr>
              <p:nvPr/>
            </p:nvSpPr>
            <p:spPr bwMode="black">
              <a:xfrm>
                <a:off x="1744663" y="4589463"/>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6" name="Freeform 11"/>
              <p:cNvSpPr>
                <a:spLocks/>
              </p:cNvSpPr>
              <p:nvPr/>
            </p:nvSpPr>
            <p:spPr bwMode="black">
              <a:xfrm>
                <a:off x="1860550" y="4225925"/>
                <a:ext cx="314325" cy="350838"/>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7" name="Oval 12"/>
              <p:cNvSpPr>
                <a:spLocks noChangeArrowheads="1"/>
              </p:cNvSpPr>
              <p:nvPr/>
            </p:nvSpPr>
            <p:spPr bwMode="black">
              <a:xfrm>
                <a:off x="1892300" y="4491038"/>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8" name="Freeform 13"/>
              <p:cNvSpPr>
                <a:spLocks/>
              </p:cNvSpPr>
              <p:nvPr/>
            </p:nvSpPr>
            <p:spPr bwMode="black">
              <a:xfrm>
                <a:off x="1447800" y="4306888"/>
                <a:ext cx="215900" cy="322263"/>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9" name="Oval 14"/>
              <p:cNvSpPr>
                <a:spLocks noChangeArrowheads="1"/>
              </p:cNvSpPr>
              <p:nvPr/>
            </p:nvSpPr>
            <p:spPr bwMode="black">
              <a:xfrm>
                <a:off x="1577975" y="4543425"/>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grpSp>
        <p:nvGrpSpPr>
          <p:cNvPr id="6" name="Group 5"/>
          <p:cNvGrpSpPr/>
          <p:nvPr/>
        </p:nvGrpSpPr>
        <p:grpSpPr>
          <a:xfrm>
            <a:off x="6324600" y="1428750"/>
            <a:ext cx="2781300" cy="2438400"/>
            <a:chOff x="6324600" y="1428750"/>
            <a:chExt cx="2781300" cy="2438400"/>
          </a:xfrm>
        </p:grpSpPr>
        <p:sp>
          <p:nvSpPr>
            <p:cNvPr id="3" name="Rectangle 2"/>
            <p:cNvSpPr/>
            <p:nvPr/>
          </p:nvSpPr>
          <p:spPr bwMode="auto">
            <a:xfrm>
              <a:off x="6324600" y="1428750"/>
              <a:ext cx="2781300" cy="243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2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a:xfrm>
              <a:off x="6467256" y="2487474"/>
              <a:ext cx="2157135" cy="1255728"/>
            </a:xfrm>
            <a:prstGeom prst="rect">
              <a:avLst/>
            </a:prstGeom>
          </p:spPr>
          <p:txBody>
            <a:bodyPr wrap="square">
              <a:spAutoFit/>
            </a:bodyPr>
            <a:lstStyle/>
            <a:p>
              <a:pPr defTabSz="932472" fontAlgn="base">
                <a:lnSpc>
                  <a:spcPct val="90000"/>
                </a:lnSpc>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Loves solving puzzles</a:t>
              </a:r>
              <a:endParaRPr lang="en-US" sz="3200"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84"/>
            <p:cNvSpPr>
              <a:spLocks noEditPoints="1"/>
            </p:cNvSpPr>
            <p:nvPr/>
          </p:nvSpPr>
          <p:spPr bwMode="black">
            <a:xfrm>
              <a:off x="8286532" y="1619390"/>
              <a:ext cx="606040" cy="72447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7" name="Group 6"/>
          <p:cNvGrpSpPr/>
          <p:nvPr/>
        </p:nvGrpSpPr>
        <p:grpSpPr>
          <a:xfrm>
            <a:off x="9258299" y="1426074"/>
            <a:ext cx="2781300" cy="2438400"/>
            <a:chOff x="9258299" y="1426074"/>
            <a:chExt cx="2781300" cy="2438400"/>
          </a:xfrm>
        </p:grpSpPr>
        <p:sp>
          <p:nvSpPr>
            <p:cNvPr id="10" name="Rectangle 9"/>
            <p:cNvSpPr/>
            <p:nvPr/>
          </p:nvSpPr>
          <p:spPr bwMode="auto">
            <a:xfrm>
              <a:off x="9258299" y="1426074"/>
              <a:ext cx="2781300" cy="243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p:cNvSpPr txBox="1"/>
            <p:nvPr/>
          </p:nvSpPr>
          <p:spPr>
            <a:xfrm>
              <a:off x="9373945" y="2745298"/>
              <a:ext cx="2027646" cy="1071062"/>
            </a:xfrm>
            <a:prstGeom prst="rect">
              <a:avLst/>
            </a:prstGeom>
            <a:noFill/>
          </p:spPr>
          <p:txBody>
            <a:bodyPr wrap="square" lIns="182880" tIns="146304" rIns="182880" bIns="146304" rtlCol="0">
              <a:spAutoFit/>
            </a:bodyPr>
            <a:lstStyle/>
            <a:p>
              <a:pPr>
                <a:lnSpc>
                  <a:spcPct val="90000"/>
                </a:lnSpc>
                <a:spcAft>
                  <a:spcPts val="600"/>
                </a:spcAft>
              </a:pPr>
              <a:r>
                <a:rPr lang="en-US" sz="2800" dirty="0">
                  <a:solidFill>
                    <a:schemeClr val="bg1"/>
                  </a:solidFill>
                </a:rPr>
                <a:t>Exhibits curiosity</a:t>
              </a:r>
              <a:endParaRPr lang="en-US" sz="3200" dirty="0">
                <a:solidFill>
                  <a:schemeClr val="bg1"/>
                </a:solidFill>
              </a:endParaRPr>
            </a:p>
          </p:txBody>
        </p:sp>
        <p:sp>
          <p:nvSpPr>
            <p:cNvPr id="35" name="Freeform 15"/>
            <p:cNvSpPr>
              <a:spLocks noEditPoints="1"/>
            </p:cNvSpPr>
            <p:nvPr/>
          </p:nvSpPr>
          <p:spPr bwMode="black">
            <a:xfrm>
              <a:off x="10928372" y="1672413"/>
              <a:ext cx="871951" cy="795153"/>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18013670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0"/>
                                  </p:stCondLst>
                                  <p:childTnLst>
                                    <p:animClr clrSpc="rgb" dir="cw">
                                      <p:cBhvr>
                                        <p:cTn id="6" dur="3000" fill="hold"/>
                                        <p:tgtEl>
                                          <p:spTgt spid="13"/>
                                        </p:tgtEl>
                                        <p:attrNameLst>
                                          <p:attrName>fillcolor</p:attrName>
                                        </p:attrNameLst>
                                      </p:cBhvr>
                                      <p:to>
                                        <a:srgbClr val="B4009E"/>
                                      </p:to>
                                    </p:animClr>
                                    <p:set>
                                      <p:cBhvr>
                                        <p:cTn id="7" dur="3000" fill="hold"/>
                                        <p:tgtEl>
                                          <p:spTgt spid="13"/>
                                        </p:tgtEl>
                                        <p:attrNameLst>
                                          <p:attrName>fill.type</p:attrName>
                                        </p:attrNameLst>
                                      </p:cBhvr>
                                      <p:to>
                                        <p:strVal val="solid"/>
                                      </p:to>
                                    </p:set>
                                    <p:set>
                                      <p:cBhvr>
                                        <p:cTn id="8" dur="3000" fill="hold"/>
                                        <p:tgtEl>
                                          <p:spTgt spid="13"/>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92664" y="2019300"/>
            <a:ext cx="5113866" cy="5566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Black Hats</a:t>
            </a:r>
          </a:p>
        </p:txBody>
      </p:sp>
      <p:sp>
        <p:nvSpPr>
          <p:cNvPr id="3" name="Title 2"/>
          <p:cNvSpPr>
            <a:spLocks noGrp="1"/>
          </p:cNvSpPr>
          <p:nvPr>
            <p:ph type="title"/>
          </p:nvPr>
        </p:nvSpPr>
        <p:spPr/>
        <p:txBody>
          <a:bodyPr/>
          <a:lstStyle/>
          <a:p>
            <a:r>
              <a:rPr lang="en-US" sz="4800" dirty="0"/>
              <a:t>Black &amp; White Hats</a:t>
            </a:r>
            <a:endParaRPr lang="en-US" dirty="0"/>
          </a:p>
        </p:txBody>
      </p:sp>
      <p:sp>
        <p:nvSpPr>
          <p:cNvPr id="4" name="Text Placeholder 1"/>
          <p:cNvSpPr txBox="1">
            <a:spLocks/>
          </p:cNvSpPr>
          <p:nvPr/>
        </p:nvSpPr>
        <p:spPr>
          <a:xfrm>
            <a:off x="269240" y="936817"/>
            <a:ext cx="11653523"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000">
                <a:gradFill>
                  <a:gsLst>
                    <a:gs pos="2917">
                      <a:schemeClr val="tx1"/>
                    </a:gs>
                    <a:gs pos="30000">
                      <a:schemeClr val="tx1"/>
                    </a:gs>
                  </a:gsLst>
                  <a:lin ang="5400000" scaled="0"/>
                </a:gradFill>
                <a:latin typeface="+mj-lt"/>
              </a:defRPr>
            </a:lvl1pPr>
          </a:lstStyle>
          <a:p>
            <a:r>
              <a:rPr lang="en-US" sz="2400" dirty="0"/>
              <a:t>There are two types of hackers: the bad and the good</a:t>
            </a:r>
            <a:endParaRPr lang="en-US" dirty="0"/>
          </a:p>
        </p:txBody>
      </p:sp>
      <p:cxnSp>
        <p:nvCxnSpPr>
          <p:cNvPr id="7" name="Straight Connector 6"/>
          <p:cNvCxnSpPr/>
          <p:nvPr/>
        </p:nvCxnSpPr>
        <p:spPr>
          <a:xfrm>
            <a:off x="6129867" y="2702564"/>
            <a:ext cx="0" cy="3700353"/>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592664" y="2702564"/>
            <a:ext cx="5113866" cy="3083921"/>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
            </a:pPr>
            <a:r>
              <a:rPr lang="en-US" sz="2400" dirty="0">
                <a:gradFill>
                  <a:gsLst>
                    <a:gs pos="2917">
                      <a:schemeClr val="tx1"/>
                    </a:gs>
                    <a:gs pos="30000">
                      <a:schemeClr val="tx1"/>
                    </a:gs>
                  </a:gsLst>
                  <a:lin ang="5400000" scaled="0"/>
                </a:gradFill>
              </a:rPr>
              <a:t>Black Hats </a:t>
            </a:r>
            <a:r>
              <a:rPr lang="en-US" sz="2400" dirty="0">
                <a:solidFill>
                  <a:schemeClr val="accent2"/>
                </a:solidFill>
              </a:rPr>
              <a:t>break</a:t>
            </a:r>
            <a:r>
              <a:rPr lang="en-US" sz="2400" dirty="0">
                <a:gradFill>
                  <a:gsLst>
                    <a:gs pos="2917">
                      <a:schemeClr val="tx1"/>
                    </a:gs>
                    <a:gs pos="30000">
                      <a:schemeClr val="tx1"/>
                    </a:gs>
                  </a:gsLst>
                  <a:lin ang="5400000" scaled="0"/>
                </a:gradFill>
              </a:rPr>
              <a:t> things</a:t>
            </a:r>
          </a:p>
          <a:p>
            <a:pPr marL="342900" indent="-342900">
              <a:lnSpc>
                <a:spcPct val="90000"/>
              </a:lnSpc>
              <a:spcAft>
                <a:spcPts val="600"/>
              </a:spcAft>
              <a:buFont typeface="Wingdings" panose="05000000000000000000" pitchFamily="2" charset="2"/>
              <a:buChar char="§"/>
            </a:pPr>
            <a:r>
              <a:rPr lang="en-US" sz="2400" dirty="0">
                <a:gradFill>
                  <a:gsLst>
                    <a:gs pos="2917">
                      <a:schemeClr val="tx1"/>
                    </a:gs>
                    <a:gs pos="30000">
                      <a:schemeClr val="tx1"/>
                    </a:gs>
                  </a:gsLst>
                  <a:lin ang="5400000" scaled="0"/>
                </a:gradFill>
              </a:rPr>
              <a:t>Intent is malicious</a:t>
            </a:r>
          </a:p>
          <a:p>
            <a:pPr marL="342900" indent="-342900">
              <a:lnSpc>
                <a:spcPct val="90000"/>
              </a:lnSpc>
              <a:spcAft>
                <a:spcPts val="600"/>
              </a:spcAft>
              <a:buFont typeface="Wingdings" panose="05000000000000000000" pitchFamily="2" charset="2"/>
              <a:buChar char="§"/>
            </a:pPr>
            <a:r>
              <a:rPr lang="en-US" sz="2400" dirty="0">
                <a:gradFill>
                  <a:gsLst>
                    <a:gs pos="2917">
                      <a:schemeClr val="tx1"/>
                    </a:gs>
                    <a:gs pos="30000">
                      <a:schemeClr val="tx1"/>
                    </a:gs>
                  </a:gsLst>
                  <a:lin ang="5400000" scaled="0"/>
                </a:gradFill>
              </a:rPr>
              <a:t>Reasons could include:</a:t>
            </a:r>
          </a:p>
          <a:p>
            <a:pPr marL="800100" lvl="1" indent="-342900">
              <a:lnSpc>
                <a:spcPct val="90000"/>
              </a:lnSpc>
              <a:spcAft>
                <a:spcPts val="600"/>
              </a:spcAft>
              <a:buFont typeface="Wingdings" panose="05000000000000000000" pitchFamily="2" charset="2"/>
              <a:buChar char="§"/>
            </a:pPr>
            <a:r>
              <a:rPr lang="en-US" sz="2400" dirty="0">
                <a:gradFill>
                  <a:gsLst>
                    <a:gs pos="2917">
                      <a:schemeClr val="tx1"/>
                    </a:gs>
                    <a:gs pos="30000">
                      <a:schemeClr val="tx1"/>
                    </a:gs>
                  </a:gsLst>
                  <a:lin ang="5400000" scaled="0"/>
                </a:gradFill>
              </a:rPr>
              <a:t>Financial (89% of all hacks)</a:t>
            </a:r>
          </a:p>
          <a:p>
            <a:pPr marL="800100" lvl="1" indent="-342900">
              <a:lnSpc>
                <a:spcPct val="90000"/>
              </a:lnSpc>
              <a:spcAft>
                <a:spcPts val="600"/>
              </a:spcAft>
              <a:buFont typeface="Wingdings" panose="05000000000000000000" pitchFamily="2" charset="2"/>
              <a:buChar char="§"/>
            </a:pPr>
            <a:r>
              <a:rPr lang="en-US" sz="2400" dirty="0">
                <a:gradFill>
                  <a:gsLst>
                    <a:gs pos="2917">
                      <a:schemeClr val="tx1"/>
                    </a:gs>
                    <a:gs pos="30000">
                      <a:schemeClr val="tx1"/>
                    </a:gs>
                  </a:gsLst>
                  <a:lin ang="5400000" scaled="0"/>
                </a:gradFill>
              </a:rPr>
              <a:t>Espionage</a:t>
            </a:r>
          </a:p>
          <a:p>
            <a:pPr marL="800100" lvl="1" indent="-342900">
              <a:lnSpc>
                <a:spcPct val="90000"/>
              </a:lnSpc>
              <a:spcAft>
                <a:spcPts val="600"/>
              </a:spcAft>
              <a:buFont typeface="Wingdings" panose="05000000000000000000" pitchFamily="2" charset="2"/>
              <a:buChar char="§"/>
            </a:pPr>
            <a:r>
              <a:rPr lang="en-US" sz="2400" dirty="0">
                <a:gradFill>
                  <a:gsLst>
                    <a:gs pos="2917">
                      <a:schemeClr val="tx1"/>
                    </a:gs>
                    <a:gs pos="30000">
                      <a:schemeClr val="tx1"/>
                    </a:gs>
                  </a:gsLst>
                  <a:lin ang="5400000" scaled="0"/>
                </a:gradFill>
              </a:rPr>
              <a:t>Ideology</a:t>
            </a:r>
          </a:p>
          <a:p>
            <a:pPr marL="800100" lvl="1" indent="-342900">
              <a:lnSpc>
                <a:spcPct val="90000"/>
              </a:lnSpc>
              <a:spcAft>
                <a:spcPts val="600"/>
              </a:spcAft>
              <a:buFont typeface="Wingdings" panose="05000000000000000000" pitchFamily="2" charset="2"/>
              <a:buChar char="§"/>
            </a:pPr>
            <a:r>
              <a:rPr lang="en-US" sz="2400" dirty="0">
                <a:gradFill>
                  <a:gsLst>
                    <a:gs pos="2917">
                      <a:schemeClr val="tx1"/>
                    </a:gs>
                    <a:gs pos="30000">
                      <a:schemeClr val="tx1"/>
                    </a:gs>
                  </a:gsLst>
                  <a:lin ang="5400000" scaled="0"/>
                </a:gradFill>
              </a:rPr>
              <a:t>Grudge</a:t>
            </a:r>
          </a:p>
        </p:txBody>
      </p:sp>
      <p:sp>
        <p:nvSpPr>
          <p:cNvPr id="9" name="TextBox 8"/>
          <p:cNvSpPr txBox="1"/>
          <p:nvPr/>
        </p:nvSpPr>
        <p:spPr>
          <a:xfrm>
            <a:off x="6534151" y="2702564"/>
            <a:ext cx="5268382" cy="3185487"/>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
            </a:pPr>
            <a:r>
              <a:rPr lang="en-US" sz="2400" dirty="0">
                <a:gradFill>
                  <a:gsLst>
                    <a:gs pos="2917">
                      <a:schemeClr val="tx1"/>
                    </a:gs>
                    <a:gs pos="30000">
                      <a:schemeClr val="tx1"/>
                    </a:gs>
                  </a:gsLst>
                  <a:lin ang="5400000" scaled="0"/>
                </a:gradFill>
              </a:rPr>
              <a:t>White Hats </a:t>
            </a:r>
            <a:r>
              <a:rPr lang="en-US" sz="2400" dirty="0">
                <a:solidFill>
                  <a:schemeClr val="tx2"/>
                </a:solidFill>
              </a:rPr>
              <a:t>build</a:t>
            </a:r>
            <a:r>
              <a:rPr lang="en-US" sz="2400" dirty="0">
                <a:gradFill>
                  <a:gsLst>
                    <a:gs pos="2917">
                      <a:schemeClr val="tx1"/>
                    </a:gs>
                    <a:gs pos="30000">
                      <a:schemeClr val="tx1"/>
                    </a:gs>
                  </a:gsLst>
                  <a:lin ang="5400000" scaled="0"/>
                </a:gradFill>
              </a:rPr>
              <a:t> things</a:t>
            </a:r>
          </a:p>
          <a:p>
            <a:pPr marL="342900" indent="-342900">
              <a:lnSpc>
                <a:spcPct val="90000"/>
              </a:lnSpc>
              <a:spcAft>
                <a:spcPts val="600"/>
              </a:spcAft>
              <a:buFont typeface="Wingdings" panose="05000000000000000000" pitchFamily="2" charset="2"/>
              <a:buChar char="§"/>
            </a:pPr>
            <a:r>
              <a:rPr lang="en-US" sz="2400" dirty="0">
                <a:gradFill>
                  <a:gsLst>
                    <a:gs pos="2917">
                      <a:schemeClr val="tx1"/>
                    </a:gs>
                    <a:gs pos="30000">
                      <a:schemeClr val="tx1"/>
                    </a:gs>
                  </a:gsLst>
                  <a:lin ang="5400000" scaled="0"/>
                </a:gradFill>
              </a:rPr>
              <a:t>Ethical Hacking</a:t>
            </a:r>
          </a:p>
          <a:p>
            <a:pPr marL="342900" indent="-342900">
              <a:lnSpc>
                <a:spcPct val="90000"/>
              </a:lnSpc>
              <a:spcAft>
                <a:spcPts val="600"/>
              </a:spcAft>
              <a:buFont typeface="Wingdings" panose="05000000000000000000" pitchFamily="2" charset="2"/>
              <a:buChar char="§"/>
            </a:pPr>
            <a:r>
              <a:rPr lang="en-US" sz="2400" dirty="0">
                <a:gradFill>
                  <a:gsLst>
                    <a:gs pos="2917">
                      <a:schemeClr val="tx1"/>
                    </a:gs>
                    <a:gs pos="30000">
                      <a:schemeClr val="tx1"/>
                    </a:gs>
                  </a:gsLst>
                  <a:lin ang="5400000" scaled="0"/>
                </a:gradFill>
              </a:rPr>
              <a:t>Works in teams referred to as sneakers, red teams, or tiger teams</a:t>
            </a:r>
          </a:p>
          <a:p>
            <a:pPr marL="342900" indent="-342900">
              <a:lnSpc>
                <a:spcPct val="90000"/>
              </a:lnSpc>
              <a:spcAft>
                <a:spcPts val="600"/>
              </a:spcAft>
              <a:buFont typeface="Wingdings" panose="05000000000000000000" pitchFamily="2" charset="2"/>
              <a:buChar char="§"/>
            </a:pPr>
            <a:r>
              <a:rPr lang="en-US" sz="2400" dirty="0">
                <a:gradFill>
                  <a:gsLst>
                    <a:gs pos="2917">
                      <a:schemeClr val="tx1"/>
                    </a:gs>
                    <a:gs pos="30000">
                      <a:schemeClr val="tx1"/>
                    </a:gs>
                  </a:gsLst>
                  <a:lin ang="5400000" scaled="0"/>
                </a:gradFill>
              </a:rPr>
              <a:t>Some White Hats pursue bounties on discovering organization vulnerabilities</a:t>
            </a:r>
          </a:p>
        </p:txBody>
      </p:sp>
      <p:sp>
        <p:nvSpPr>
          <p:cNvPr id="11" name="Rectangle 10"/>
          <p:cNvSpPr/>
          <p:nvPr/>
        </p:nvSpPr>
        <p:spPr bwMode="auto">
          <a:xfrm>
            <a:off x="6534151" y="2019300"/>
            <a:ext cx="5113866" cy="5566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White Hats</a:t>
            </a:r>
          </a:p>
        </p:txBody>
      </p:sp>
      <p:pic>
        <p:nvPicPr>
          <p:cNvPr id="12" name="Picture 2" descr="https://www.wifipineapple.com/assets/img/icons/flat/intercept.png"/>
          <p:cNvPicPr>
            <a:picLocks noChangeAspect="1" noChangeArrowheads="1"/>
          </p:cNvPicPr>
          <p:nvPr/>
        </p:nvPicPr>
        <p:blipFill>
          <a:blip r:embed="rId3" cstate="print">
            <a:grayscl/>
            <a:extLst>
              <a:ext uri="{28A0092B-C50C-407E-A947-70E740481C1C}">
                <a14:useLocalDpi xmlns:a14="http://schemas.microsoft.com/office/drawing/2010/main" val="0"/>
              </a:ext>
            </a:extLst>
          </a:blip>
          <a:srcRect/>
          <a:stretch>
            <a:fillRect/>
          </a:stretch>
        </p:blipFill>
        <p:spPr bwMode="auto">
          <a:xfrm>
            <a:off x="5116100" y="1965789"/>
            <a:ext cx="826437" cy="82643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p:cNvGrpSpPr/>
          <p:nvPr/>
        </p:nvGrpSpPr>
        <p:grpSpPr>
          <a:xfrm>
            <a:off x="11097459" y="1889121"/>
            <a:ext cx="827621" cy="886172"/>
            <a:chOff x="10827142" y="1653237"/>
            <a:chExt cx="827621" cy="886172"/>
          </a:xfrm>
        </p:grpSpPr>
        <p:sp>
          <p:nvSpPr>
            <p:cNvPr id="14" name="Oval 13"/>
            <p:cNvSpPr/>
            <p:nvPr/>
          </p:nvSpPr>
          <p:spPr bwMode="auto">
            <a:xfrm>
              <a:off x="10827142" y="1712972"/>
              <a:ext cx="827621" cy="826437"/>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Content Placeholder 5"/>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10833888" y="1653237"/>
              <a:ext cx="820875" cy="820875"/>
            </a:xfrm>
            <a:prstGeom prst="rect">
              <a:avLst/>
            </a:prstGeom>
          </p:spPr>
        </p:pic>
      </p:grpSp>
      <p:pic>
        <p:nvPicPr>
          <p:cNvPr id="2" name="Picture 4"/>
          <p:cNvPicPr>
            <a:picLocks noChangeAspect="1"/>
          </p:cNvPicPr>
          <p:nvPr/>
        </p:nvPicPr>
        <p:blipFill>
          <a:blip r:embed="rId5"/>
          <a:stretch>
            <a:fillRect/>
          </a:stretch>
        </p:blipFill>
        <p:spPr>
          <a:xfrm>
            <a:off x="3595999" y="4591568"/>
            <a:ext cx="1485690" cy="1485690"/>
          </a:xfrm>
          <a:prstGeom prst="rect">
            <a:avLst/>
          </a:prstGeom>
        </p:spPr>
      </p:pic>
    </p:spTree>
    <p:extLst>
      <p:ext uri="{BB962C8B-B14F-4D97-AF65-F5344CB8AC3E}">
        <p14:creationId xmlns:p14="http://schemas.microsoft.com/office/powerpoint/2010/main" val="180528168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6" name="Rectangle 16395"/>
          <p:cNvSpPr/>
          <p:nvPr/>
        </p:nvSpPr>
        <p:spPr bwMode="auto">
          <a:xfrm>
            <a:off x="484467" y="1937127"/>
            <a:ext cx="8106066" cy="44446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Rectangle 77"/>
          <p:cNvSpPr/>
          <p:nvPr/>
        </p:nvSpPr>
        <p:spPr bwMode="auto">
          <a:xfrm>
            <a:off x="8550755" y="1937127"/>
            <a:ext cx="3258845" cy="44446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0" y="289511"/>
            <a:ext cx="11567160" cy="899665"/>
          </a:xfrm>
        </p:spPr>
        <p:txBody>
          <a:bodyPr/>
          <a:lstStyle/>
          <a:p>
            <a:r>
              <a:rPr lang="en-US" sz="4800" dirty="0"/>
              <a:t>Bounties for the White Hats</a:t>
            </a:r>
          </a:p>
        </p:txBody>
      </p:sp>
      <p:sp>
        <p:nvSpPr>
          <p:cNvPr id="5" name="Rectangle 4"/>
          <p:cNvSpPr/>
          <p:nvPr/>
        </p:nvSpPr>
        <p:spPr bwMode="auto">
          <a:xfrm>
            <a:off x="484467" y="1336975"/>
            <a:ext cx="11351933" cy="60015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300" b="1" dirty="0">
                <a:gradFill>
                  <a:gsLst>
                    <a:gs pos="0">
                      <a:srgbClr val="FFFFFF"/>
                    </a:gs>
                    <a:gs pos="100000">
                      <a:srgbClr val="FFFFFF"/>
                    </a:gs>
                  </a:gsLst>
                  <a:lin ang="5400000" scaled="0"/>
                </a:gradFill>
                <a:ea typeface="Segoe UI" pitchFamily="34" charset="0"/>
                <a:cs typeface="Segoe UI" pitchFamily="34" charset="0"/>
              </a:rPr>
              <a:t>Companies and gov’ts now offer bounties for hackers to identify vulnerabilities</a:t>
            </a:r>
          </a:p>
        </p:txBody>
      </p:sp>
      <p:grpSp>
        <p:nvGrpSpPr>
          <p:cNvPr id="14" name="Group 13"/>
          <p:cNvGrpSpPr/>
          <p:nvPr/>
        </p:nvGrpSpPr>
        <p:grpSpPr>
          <a:xfrm>
            <a:off x="5953969" y="4296761"/>
            <a:ext cx="423250" cy="437591"/>
            <a:chOff x="4749687" y="3832457"/>
            <a:chExt cx="564413" cy="583537"/>
          </a:xfrm>
          <a:solidFill>
            <a:schemeClr val="accent2"/>
          </a:solidFill>
        </p:grpSpPr>
        <p:sp>
          <p:nvSpPr>
            <p:cNvPr id="15" name="Freeform 14"/>
            <p:cNvSpPr>
              <a:spLocks/>
            </p:cNvSpPr>
            <p:nvPr/>
          </p:nvSpPr>
          <p:spPr bwMode="black">
            <a:xfrm>
              <a:off x="4837028" y="4113478"/>
              <a:ext cx="348158" cy="302516"/>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16" name="Freeform 15"/>
            <p:cNvSpPr>
              <a:spLocks/>
            </p:cNvSpPr>
            <p:nvPr/>
          </p:nvSpPr>
          <p:spPr bwMode="black">
            <a:xfrm>
              <a:off x="4992445" y="3838998"/>
              <a:ext cx="1205" cy="2726"/>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17" name="Freeform 16"/>
            <p:cNvSpPr>
              <a:spLocks/>
            </p:cNvSpPr>
            <p:nvPr/>
          </p:nvSpPr>
          <p:spPr bwMode="black">
            <a:xfrm>
              <a:off x="4989433" y="3841724"/>
              <a:ext cx="3012" cy="10357"/>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18" name="Freeform 17"/>
            <p:cNvSpPr>
              <a:spLocks/>
            </p:cNvSpPr>
            <p:nvPr/>
          </p:nvSpPr>
          <p:spPr bwMode="black">
            <a:xfrm>
              <a:off x="5309281" y="3841724"/>
              <a:ext cx="4819" cy="10357"/>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19" name="Freeform 18"/>
            <p:cNvSpPr>
              <a:spLocks/>
            </p:cNvSpPr>
            <p:nvPr/>
          </p:nvSpPr>
          <p:spPr bwMode="black">
            <a:xfrm>
              <a:off x="4993650" y="3832457"/>
              <a:ext cx="3012" cy="6541"/>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20" name="Freeform 19"/>
            <p:cNvSpPr>
              <a:spLocks/>
            </p:cNvSpPr>
            <p:nvPr/>
          </p:nvSpPr>
          <p:spPr bwMode="black">
            <a:xfrm>
              <a:off x="5308077" y="3838998"/>
              <a:ext cx="1205" cy="2726"/>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21" name="Freeform 20"/>
            <p:cNvSpPr>
              <a:spLocks noEditPoints="1"/>
            </p:cNvSpPr>
            <p:nvPr/>
          </p:nvSpPr>
          <p:spPr bwMode="black">
            <a:xfrm>
              <a:off x="4856898" y="4013177"/>
              <a:ext cx="308403" cy="118280"/>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22" name="Freeform 21"/>
            <p:cNvSpPr>
              <a:spLocks/>
            </p:cNvSpPr>
            <p:nvPr/>
          </p:nvSpPr>
          <p:spPr bwMode="black">
            <a:xfrm>
              <a:off x="5305065" y="3832457"/>
              <a:ext cx="3012" cy="6541"/>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23" name="Freeform 22"/>
            <p:cNvSpPr>
              <a:spLocks/>
            </p:cNvSpPr>
            <p:nvPr/>
          </p:nvSpPr>
          <p:spPr bwMode="black">
            <a:xfrm>
              <a:off x="4917736" y="3938503"/>
              <a:ext cx="186729" cy="92662"/>
            </a:xfrm>
            <a:custGeom>
              <a:avLst/>
              <a:gdLst>
                <a:gd name="T0" fmla="*/ 2 w 131"/>
                <a:gd name="T1" fmla="*/ 11 h 72"/>
                <a:gd name="T2" fmla="*/ 61 w 131"/>
                <a:gd name="T3" fmla="*/ 70 h 72"/>
                <a:gd name="T4" fmla="val 19800000"/>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24" name="Oval 23"/>
            <p:cNvSpPr>
              <a:spLocks noChangeArrowheads="1"/>
            </p:cNvSpPr>
            <p:nvPr/>
          </p:nvSpPr>
          <p:spPr bwMode="black">
            <a:xfrm>
              <a:off x="4910527" y="3931963"/>
              <a:ext cx="33129" cy="294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25" name="Oval 24"/>
            <p:cNvSpPr>
              <a:spLocks noChangeArrowheads="1"/>
            </p:cNvSpPr>
            <p:nvPr/>
          </p:nvSpPr>
          <p:spPr bwMode="black">
            <a:xfrm>
              <a:off x="5078570" y="3931962"/>
              <a:ext cx="33129" cy="294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26" name="Freeform 25"/>
            <p:cNvSpPr>
              <a:spLocks/>
            </p:cNvSpPr>
            <p:nvPr/>
          </p:nvSpPr>
          <p:spPr bwMode="black">
            <a:xfrm>
              <a:off x="4762943" y="4124917"/>
              <a:ext cx="153599" cy="70860"/>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27" name="Freeform 26"/>
            <p:cNvSpPr>
              <a:spLocks/>
            </p:cNvSpPr>
            <p:nvPr/>
          </p:nvSpPr>
          <p:spPr bwMode="black">
            <a:xfrm>
              <a:off x="4781014" y="4301521"/>
              <a:ext cx="155406" cy="69225"/>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28" name="Freeform 27"/>
            <p:cNvSpPr>
              <a:spLocks/>
            </p:cNvSpPr>
            <p:nvPr/>
          </p:nvSpPr>
          <p:spPr bwMode="black">
            <a:xfrm>
              <a:off x="4749687" y="4239383"/>
              <a:ext cx="162635" cy="26164"/>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29" name="Freeform 28"/>
            <p:cNvSpPr>
              <a:spLocks/>
            </p:cNvSpPr>
            <p:nvPr/>
          </p:nvSpPr>
          <p:spPr bwMode="black">
            <a:xfrm>
              <a:off x="5105680" y="4124917"/>
              <a:ext cx="155406" cy="70860"/>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30" name="Freeform 29"/>
            <p:cNvSpPr>
              <a:spLocks/>
            </p:cNvSpPr>
            <p:nvPr/>
          </p:nvSpPr>
          <p:spPr bwMode="black">
            <a:xfrm>
              <a:off x="5085796" y="4301521"/>
              <a:ext cx="155406" cy="69225"/>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31" name="Freeform 30"/>
            <p:cNvSpPr>
              <a:spLocks/>
            </p:cNvSpPr>
            <p:nvPr/>
          </p:nvSpPr>
          <p:spPr bwMode="black">
            <a:xfrm>
              <a:off x="5109885" y="4239383"/>
              <a:ext cx="162635" cy="26164"/>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grpSp>
      <p:grpSp>
        <p:nvGrpSpPr>
          <p:cNvPr id="32" name="Group 31"/>
          <p:cNvGrpSpPr/>
          <p:nvPr/>
        </p:nvGrpSpPr>
        <p:grpSpPr>
          <a:xfrm>
            <a:off x="6069452" y="3112741"/>
            <a:ext cx="423250" cy="437591"/>
            <a:chOff x="4749687" y="3832457"/>
            <a:chExt cx="564413" cy="583537"/>
          </a:xfrm>
          <a:solidFill>
            <a:schemeClr val="accent2"/>
          </a:solidFill>
        </p:grpSpPr>
        <p:sp>
          <p:nvSpPr>
            <p:cNvPr id="33" name="Freeform 32"/>
            <p:cNvSpPr>
              <a:spLocks/>
            </p:cNvSpPr>
            <p:nvPr/>
          </p:nvSpPr>
          <p:spPr bwMode="black">
            <a:xfrm>
              <a:off x="4837028" y="4113478"/>
              <a:ext cx="348158" cy="302516"/>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34" name="Freeform 33"/>
            <p:cNvSpPr>
              <a:spLocks/>
            </p:cNvSpPr>
            <p:nvPr/>
          </p:nvSpPr>
          <p:spPr bwMode="black">
            <a:xfrm>
              <a:off x="4992445" y="3838998"/>
              <a:ext cx="1205" cy="2726"/>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35" name="Freeform 34"/>
            <p:cNvSpPr>
              <a:spLocks/>
            </p:cNvSpPr>
            <p:nvPr/>
          </p:nvSpPr>
          <p:spPr bwMode="black">
            <a:xfrm>
              <a:off x="4989433" y="3841724"/>
              <a:ext cx="3012" cy="10357"/>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36" name="Freeform 35"/>
            <p:cNvSpPr>
              <a:spLocks/>
            </p:cNvSpPr>
            <p:nvPr/>
          </p:nvSpPr>
          <p:spPr bwMode="black">
            <a:xfrm>
              <a:off x="5309281" y="3841724"/>
              <a:ext cx="4819" cy="10357"/>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37" name="Freeform 36"/>
            <p:cNvSpPr>
              <a:spLocks/>
            </p:cNvSpPr>
            <p:nvPr/>
          </p:nvSpPr>
          <p:spPr bwMode="black">
            <a:xfrm>
              <a:off x="4993650" y="3832457"/>
              <a:ext cx="3012" cy="6541"/>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38" name="Freeform 37"/>
            <p:cNvSpPr>
              <a:spLocks/>
            </p:cNvSpPr>
            <p:nvPr/>
          </p:nvSpPr>
          <p:spPr bwMode="black">
            <a:xfrm>
              <a:off x="5308077" y="3838998"/>
              <a:ext cx="1205" cy="2726"/>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39" name="Freeform 38"/>
            <p:cNvSpPr>
              <a:spLocks noEditPoints="1"/>
            </p:cNvSpPr>
            <p:nvPr/>
          </p:nvSpPr>
          <p:spPr bwMode="black">
            <a:xfrm>
              <a:off x="4856898" y="4013177"/>
              <a:ext cx="308403" cy="118280"/>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40" name="Freeform 39"/>
            <p:cNvSpPr>
              <a:spLocks/>
            </p:cNvSpPr>
            <p:nvPr/>
          </p:nvSpPr>
          <p:spPr bwMode="black">
            <a:xfrm>
              <a:off x="5305065" y="3832457"/>
              <a:ext cx="3012" cy="6541"/>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41" name="Freeform 40"/>
            <p:cNvSpPr>
              <a:spLocks/>
            </p:cNvSpPr>
            <p:nvPr/>
          </p:nvSpPr>
          <p:spPr bwMode="black">
            <a:xfrm>
              <a:off x="4917736" y="3938503"/>
              <a:ext cx="186729" cy="92662"/>
            </a:xfrm>
            <a:custGeom>
              <a:avLst/>
              <a:gdLst>
                <a:gd name="T0" fmla="*/ 2 w 131"/>
                <a:gd name="T1" fmla="*/ 11 h 72"/>
                <a:gd name="T2" fmla="*/ 61 w 131"/>
                <a:gd name="T3" fmla="*/ 70 h 72"/>
                <a:gd name="T4" fmla="val 19800000"/>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42" name="Oval 41"/>
            <p:cNvSpPr>
              <a:spLocks noChangeArrowheads="1"/>
            </p:cNvSpPr>
            <p:nvPr/>
          </p:nvSpPr>
          <p:spPr bwMode="black">
            <a:xfrm>
              <a:off x="4910527" y="3931963"/>
              <a:ext cx="33129" cy="294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43" name="Oval 42"/>
            <p:cNvSpPr>
              <a:spLocks noChangeArrowheads="1"/>
            </p:cNvSpPr>
            <p:nvPr/>
          </p:nvSpPr>
          <p:spPr bwMode="black">
            <a:xfrm>
              <a:off x="5078570" y="3931962"/>
              <a:ext cx="33129" cy="294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44" name="Freeform 43"/>
            <p:cNvSpPr>
              <a:spLocks/>
            </p:cNvSpPr>
            <p:nvPr/>
          </p:nvSpPr>
          <p:spPr bwMode="black">
            <a:xfrm>
              <a:off x="4762943" y="4124917"/>
              <a:ext cx="153599" cy="70860"/>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45" name="Freeform 44"/>
            <p:cNvSpPr>
              <a:spLocks/>
            </p:cNvSpPr>
            <p:nvPr/>
          </p:nvSpPr>
          <p:spPr bwMode="black">
            <a:xfrm>
              <a:off x="4781014" y="4301521"/>
              <a:ext cx="155406" cy="69225"/>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46" name="Freeform 45"/>
            <p:cNvSpPr>
              <a:spLocks/>
            </p:cNvSpPr>
            <p:nvPr/>
          </p:nvSpPr>
          <p:spPr bwMode="black">
            <a:xfrm>
              <a:off x="4749687" y="4239383"/>
              <a:ext cx="162635" cy="26164"/>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47" name="Freeform 46"/>
            <p:cNvSpPr>
              <a:spLocks/>
            </p:cNvSpPr>
            <p:nvPr/>
          </p:nvSpPr>
          <p:spPr bwMode="black">
            <a:xfrm>
              <a:off x="5105680" y="4124917"/>
              <a:ext cx="155406" cy="70860"/>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48" name="Freeform 47"/>
            <p:cNvSpPr>
              <a:spLocks/>
            </p:cNvSpPr>
            <p:nvPr/>
          </p:nvSpPr>
          <p:spPr bwMode="black">
            <a:xfrm>
              <a:off x="5085796" y="4301521"/>
              <a:ext cx="155406" cy="69225"/>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49" name="Freeform 48"/>
            <p:cNvSpPr>
              <a:spLocks/>
            </p:cNvSpPr>
            <p:nvPr/>
          </p:nvSpPr>
          <p:spPr bwMode="black">
            <a:xfrm>
              <a:off x="5109885" y="4239383"/>
              <a:ext cx="162635" cy="26164"/>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grpSp>
      <p:grpSp>
        <p:nvGrpSpPr>
          <p:cNvPr id="77" name="Group 76"/>
          <p:cNvGrpSpPr/>
          <p:nvPr/>
        </p:nvGrpSpPr>
        <p:grpSpPr>
          <a:xfrm>
            <a:off x="6468021" y="2695982"/>
            <a:ext cx="1999382" cy="2102710"/>
            <a:chOff x="-1539962" y="3812425"/>
            <a:chExt cx="1999382" cy="2102710"/>
          </a:xfrm>
          <a:solidFill>
            <a:schemeClr val="tx2"/>
          </a:solidFill>
        </p:grpSpPr>
        <p:grpSp>
          <p:nvGrpSpPr>
            <p:cNvPr id="52" name="Group 20"/>
            <p:cNvGrpSpPr>
              <a:grpSpLocks/>
            </p:cNvGrpSpPr>
            <p:nvPr/>
          </p:nvGrpSpPr>
          <p:grpSpPr bwMode="auto">
            <a:xfrm>
              <a:off x="-1258392" y="3812425"/>
              <a:ext cx="1075321" cy="2102710"/>
              <a:chOff x="425222" y="3519500"/>
              <a:chExt cx="1623928" cy="3174988"/>
            </a:xfrm>
            <a:grpFill/>
          </p:grpSpPr>
          <p:sp>
            <p:nvSpPr>
              <p:cNvPr id="73" name="Rectangle 72"/>
              <p:cNvSpPr/>
              <p:nvPr/>
            </p:nvSpPr>
            <p:spPr bwMode="auto">
              <a:xfrm>
                <a:off x="1227315" y="3695393"/>
                <a:ext cx="821522" cy="2922917"/>
              </a:xfrm>
              <a:prstGeom prst="rect">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31801" tIns="105441" rIns="131801" bIns="105441"/>
              <a:lstStyle/>
              <a:p>
                <a:pPr algn="ctr" defTabSz="672011">
                  <a:lnSpc>
                    <a:spcPct val="90000"/>
                  </a:lnSpc>
                  <a:defRPr/>
                </a:pPr>
                <a:endParaRPr lang="en-US" sz="1730" dirty="0" err="1">
                  <a:solidFill>
                    <a:srgbClr val="000000"/>
                  </a:solidFill>
                  <a:ea typeface="Segoe UI" pitchFamily="34" charset="0"/>
                  <a:cs typeface="Segoe UI" pitchFamily="34" charset="0"/>
                </a:endParaRPr>
              </a:p>
            </p:txBody>
          </p:sp>
          <p:sp>
            <p:nvSpPr>
              <p:cNvPr id="74" name="Rectangle 73"/>
              <p:cNvSpPr/>
              <p:nvPr/>
            </p:nvSpPr>
            <p:spPr bwMode="auto">
              <a:xfrm>
                <a:off x="425669" y="4564816"/>
                <a:ext cx="1010340" cy="2129672"/>
              </a:xfrm>
              <a:prstGeom prst="rect">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31801" tIns="105441" rIns="131801" bIns="105441"/>
              <a:lstStyle/>
              <a:p>
                <a:pPr algn="ctr" defTabSz="672011">
                  <a:lnSpc>
                    <a:spcPct val="90000"/>
                  </a:lnSpc>
                  <a:defRPr/>
                </a:pPr>
                <a:endParaRPr lang="en-US" sz="1730" dirty="0" err="1">
                  <a:solidFill>
                    <a:srgbClr val="000000"/>
                  </a:solidFill>
                  <a:ea typeface="Segoe UI" pitchFamily="34" charset="0"/>
                  <a:cs typeface="Segoe UI" pitchFamily="34" charset="0"/>
                </a:endParaRPr>
              </a:p>
            </p:txBody>
          </p:sp>
          <p:sp>
            <p:nvSpPr>
              <p:cNvPr id="75" name="Rectangle 22"/>
              <p:cNvSpPr>
                <a:spLocks noChangeArrowheads="1"/>
              </p:cNvSpPr>
              <p:nvPr/>
            </p:nvSpPr>
            <p:spPr bwMode="auto">
              <a:xfrm>
                <a:off x="1772235" y="3519853"/>
                <a:ext cx="140786" cy="180509"/>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76" name="Rectangle 23"/>
              <p:cNvSpPr>
                <a:spLocks noChangeArrowheads="1"/>
              </p:cNvSpPr>
              <p:nvPr/>
            </p:nvSpPr>
            <p:spPr bwMode="auto">
              <a:xfrm>
                <a:off x="1585075" y="3519853"/>
                <a:ext cx="139129" cy="180509"/>
              </a:xfrm>
              <a:prstGeom prst="rect">
                <a:avLst/>
              </a:prstGeom>
              <a:grpFill/>
              <a:ln>
                <a:solidFill>
                  <a:schemeClr val="bg1"/>
                </a:solidFill>
              </a:ln>
              <a:extLst/>
            </p:spPr>
            <p:txBody>
              <a:bodyPr/>
              <a:lstStyle/>
              <a:p>
                <a:pPr defTabSz="671898">
                  <a:defRPr/>
                </a:pPr>
                <a:endParaRPr lang="en-US" sz="1350">
                  <a:solidFill>
                    <a:srgbClr val="000000"/>
                  </a:solidFill>
                </a:endParaRPr>
              </a:p>
            </p:txBody>
          </p:sp>
        </p:grpSp>
        <p:sp>
          <p:nvSpPr>
            <p:cNvPr id="53" name="Rectangle 6"/>
            <p:cNvSpPr>
              <a:spLocks noChangeArrowheads="1"/>
            </p:cNvSpPr>
            <p:nvPr/>
          </p:nvSpPr>
          <p:spPr bwMode="auto">
            <a:xfrm>
              <a:off x="-1537768" y="5303147"/>
              <a:ext cx="700826" cy="611988"/>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54" name="Rectangle 7"/>
            <p:cNvSpPr>
              <a:spLocks noChangeArrowheads="1"/>
            </p:cNvSpPr>
            <p:nvPr/>
          </p:nvSpPr>
          <p:spPr bwMode="auto">
            <a:xfrm>
              <a:off x="-1537768" y="5273534"/>
              <a:ext cx="739212" cy="29613"/>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55" name="Rectangle 8"/>
            <p:cNvSpPr>
              <a:spLocks noChangeArrowheads="1"/>
            </p:cNvSpPr>
            <p:nvPr/>
          </p:nvSpPr>
          <p:spPr bwMode="auto">
            <a:xfrm>
              <a:off x="-1184614" y="5719913"/>
              <a:ext cx="100901" cy="195222"/>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56" name="Rectangle 9"/>
            <p:cNvSpPr>
              <a:spLocks noChangeArrowheads="1"/>
            </p:cNvSpPr>
            <p:nvPr/>
          </p:nvSpPr>
          <p:spPr bwMode="auto">
            <a:xfrm>
              <a:off x="-1356804" y="5719913"/>
              <a:ext cx="98708" cy="195222"/>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57" name="Rectangle 10"/>
            <p:cNvSpPr>
              <a:spLocks noChangeArrowheads="1"/>
            </p:cNvSpPr>
            <p:nvPr/>
          </p:nvSpPr>
          <p:spPr bwMode="auto">
            <a:xfrm>
              <a:off x="-1531188" y="5385402"/>
              <a:ext cx="622956" cy="98708"/>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58" name="Rectangle 11"/>
            <p:cNvSpPr>
              <a:spLocks noChangeArrowheads="1"/>
            </p:cNvSpPr>
            <p:nvPr/>
          </p:nvSpPr>
          <p:spPr bwMode="auto">
            <a:xfrm>
              <a:off x="-1531188" y="5557593"/>
              <a:ext cx="622956" cy="100901"/>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59" name="Rectangle 12"/>
            <p:cNvSpPr>
              <a:spLocks noChangeArrowheads="1"/>
            </p:cNvSpPr>
            <p:nvPr/>
          </p:nvSpPr>
          <p:spPr bwMode="auto">
            <a:xfrm>
              <a:off x="-753589" y="4956573"/>
              <a:ext cx="769921" cy="958562"/>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60" name="Rectangle 13"/>
            <p:cNvSpPr>
              <a:spLocks noChangeArrowheads="1"/>
            </p:cNvSpPr>
            <p:nvPr/>
          </p:nvSpPr>
          <p:spPr bwMode="auto">
            <a:xfrm>
              <a:off x="-793073" y="4926960"/>
              <a:ext cx="847790" cy="29613"/>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61" name="Rectangle 14"/>
            <p:cNvSpPr>
              <a:spLocks noChangeArrowheads="1"/>
            </p:cNvSpPr>
            <p:nvPr/>
          </p:nvSpPr>
          <p:spPr bwMode="auto">
            <a:xfrm>
              <a:off x="-330242" y="5719913"/>
              <a:ext cx="100901" cy="195222"/>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62" name="Rectangle 15"/>
            <p:cNvSpPr>
              <a:spLocks noChangeArrowheads="1"/>
            </p:cNvSpPr>
            <p:nvPr/>
          </p:nvSpPr>
          <p:spPr bwMode="auto">
            <a:xfrm>
              <a:off x="-505723" y="5719913"/>
              <a:ext cx="100901" cy="195222"/>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63" name="Rectangle 16"/>
            <p:cNvSpPr>
              <a:spLocks noChangeArrowheads="1"/>
            </p:cNvSpPr>
            <p:nvPr/>
          </p:nvSpPr>
          <p:spPr bwMode="auto">
            <a:xfrm>
              <a:off x="-677914" y="5038829"/>
              <a:ext cx="622956" cy="101999"/>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64" name="Rectangle 17"/>
            <p:cNvSpPr>
              <a:spLocks noChangeArrowheads="1"/>
            </p:cNvSpPr>
            <p:nvPr/>
          </p:nvSpPr>
          <p:spPr bwMode="auto">
            <a:xfrm>
              <a:off x="-677914" y="5211019"/>
              <a:ext cx="622956" cy="100901"/>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65" name="Rectangle 18"/>
            <p:cNvSpPr>
              <a:spLocks noChangeArrowheads="1"/>
            </p:cNvSpPr>
            <p:nvPr/>
          </p:nvSpPr>
          <p:spPr bwMode="auto">
            <a:xfrm>
              <a:off x="-677914" y="5385402"/>
              <a:ext cx="622956" cy="98708"/>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66" name="Rectangle 19"/>
            <p:cNvSpPr>
              <a:spLocks noChangeArrowheads="1"/>
            </p:cNvSpPr>
            <p:nvPr/>
          </p:nvSpPr>
          <p:spPr bwMode="auto">
            <a:xfrm>
              <a:off x="-677914" y="5557593"/>
              <a:ext cx="622956" cy="100901"/>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67" name="Rectangle 22"/>
            <p:cNvSpPr>
              <a:spLocks noChangeArrowheads="1"/>
            </p:cNvSpPr>
            <p:nvPr/>
          </p:nvSpPr>
          <p:spPr bwMode="auto">
            <a:xfrm>
              <a:off x="-201923" y="4807414"/>
              <a:ext cx="92127" cy="119546"/>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68" name="Rectangle 23"/>
            <p:cNvSpPr>
              <a:spLocks noChangeArrowheads="1"/>
            </p:cNvSpPr>
            <p:nvPr/>
          </p:nvSpPr>
          <p:spPr bwMode="auto">
            <a:xfrm>
              <a:off x="-325855" y="4807414"/>
              <a:ext cx="92127" cy="119546"/>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69" name="Rectangle 24"/>
            <p:cNvSpPr>
              <a:spLocks noChangeArrowheads="1"/>
            </p:cNvSpPr>
            <p:nvPr/>
          </p:nvSpPr>
          <p:spPr bwMode="auto">
            <a:xfrm>
              <a:off x="-1539962" y="5866878"/>
              <a:ext cx="1999382" cy="48257"/>
            </a:xfrm>
            <a:prstGeom prst="rect">
              <a:avLst/>
            </a:prstGeom>
            <a:grpFill/>
            <a:ln>
              <a:solidFill>
                <a:schemeClr val="bg1"/>
              </a:solidFill>
            </a:ln>
            <a:extLst/>
          </p:spPr>
          <p:txBody>
            <a:bodyPr/>
            <a:lstStyle/>
            <a:p>
              <a:pPr defTabSz="671898">
                <a:defRPr/>
              </a:pPr>
              <a:endParaRPr lang="en-US" sz="1350">
                <a:solidFill>
                  <a:srgbClr val="000000"/>
                </a:solidFill>
              </a:endParaRPr>
            </a:p>
          </p:txBody>
        </p:sp>
      </p:grpSp>
      <p:pic>
        <p:nvPicPr>
          <p:cNvPr id="16386" name="Picture 2" descr="https://upload.wikimedia.org/wikipedia/commons/thumb/9/96/Microsoft_logo_(2012).svg/2000px-Microsoft_logo_(2012).sv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939626" y="2782387"/>
            <a:ext cx="2154974" cy="460087"/>
          </a:xfrm>
          <a:prstGeom prst="rect">
            <a:avLst/>
          </a:prstGeom>
          <a:noFill/>
          <a:extLst>
            <a:ext uri="{909E8E84-426E-40DD-AFC4-6F175D3DCCD1}">
              <a14:hiddenFill xmlns:a14="http://schemas.microsoft.com/office/drawing/2010/main">
                <a:solidFill>
                  <a:srgbClr val="FFFFFF"/>
                </a:solidFill>
              </a14:hiddenFill>
            </a:ext>
          </a:extLst>
        </p:spPr>
      </p:pic>
      <p:grpSp>
        <p:nvGrpSpPr>
          <p:cNvPr id="82" name="Group 81"/>
          <p:cNvGrpSpPr/>
          <p:nvPr/>
        </p:nvGrpSpPr>
        <p:grpSpPr>
          <a:xfrm>
            <a:off x="6597764" y="2730784"/>
            <a:ext cx="423250" cy="437591"/>
            <a:chOff x="4749687" y="3832457"/>
            <a:chExt cx="564413" cy="583537"/>
          </a:xfrm>
          <a:solidFill>
            <a:schemeClr val="accent2"/>
          </a:solidFill>
        </p:grpSpPr>
        <p:sp>
          <p:nvSpPr>
            <p:cNvPr id="83" name="Freeform 82"/>
            <p:cNvSpPr>
              <a:spLocks/>
            </p:cNvSpPr>
            <p:nvPr/>
          </p:nvSpPr>
          <p:spPr bwMode="black">
            <a:xfrm>
              <a:off x="4837028" y="4113478"/>
              <a:ext cx="348158" cy="302516"/>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84" name="Freeform 83"/>
            <p:cNvSpPr>
              <a:spLocks/>
            </p:cNvSpPr>
            <p:nvPr/>
          </p:nvSpPr>
          <p:spPr bwMode="black">
            <a:xfrm>
              <a:off x="4992445" y="3838998"/>
              <a:ext cx="1205" cy="2726"/>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85" name="Freeform 84"/>
            <p:cNvSpPr>
              <a:spLocks/>
            </p:cNvSpPr>
            <p:nvPr/>
          </p:nvSpPr>
          <p:spPr bwMode="black">
            <a:xfrm>
              <a:off x="4989433" y="3841724"/>
              <a:ext cx="3012" cy="10357"/>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86" name="Freeform 85"/>
            <p:cNvSpPr>
              <a:spLocks/>
            </p:cNvSpPr>
            <p:nvPr/>
          </p:nvSpPr>
          <p:spPr bwMode="black">
            <a:xfrm>
              <a:off x="5309281" y="3841724"/>
              <a:ext cx="4819" cy="10357"/>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87" name="Freeform 86"/>
            <p:cNvSpPr>
              <a:spLocks/>
            </p:cNvSpPr>
            <p:nvPr/>
          </p:nvSpPr>
          <p:spPr bwMode="black">
            <a:xfrm>
              <a:off x="4993650" y="3832457"/>
              <a:ext cx="3012" cy="6541"/>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88" name="Freeform 87"/>
            <p:cNvSpPr>
              <a:spLocks/>
            </p:cNvSpPr>
            <p:nvPr/>
          </p:nvSpPr>
          <p:spPr bwMode="black">
            <a:xfrm>
              <a:off x="5308077" y="3838998"/>
              <a:ext cx="1205" cy="2726"/>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89" name="Freeform 88"/>
            <p:cNvSpPr>
              <a:spLocks noEditPoints="1"/>
            </p:cNvSpPr>
            <p:nvPr/>
          </p:nvSpPr>
          <p:spPr bwMode="black">
            <a:xfrm>
              <a:off x="4856898" y="4013177"/>
              <a:ext cx="308403" cy="118280"/>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90" name="Freeform 89"/>
            <p:cNvSpPr>
              <a:spLocks/>
            </p:cNvSpPr>
            <p:nvPr/>
          </p:nvSpPr>
          <p:spPr bwMode="black">
            <a:xfrm>
              <a:off x="5305065" y="3832457"/>
              <a:ext cx="3012" cy="6541"/>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91" name="Freeform 90"/>
            <p:cNvSpPr>
              <a:spLocks/>
            </p:cNvSpPr>
            <p:nvPr/>
          </p:nvSpPr>
          <p:spPr bwMode="black">
            <a:xfrm>
              <a:off x="4917736" y="3938503"/>
              <a:ext cx="186729" cy="92662"/>
            </a:xfrm>
            <a:custGeom>
              <a:avLst/>
              <a:gdLst>
                <a:gd name="T0" fmla="*/ 2 w 131"/>
                <a:gd name="T1" fmla="*/ 11 h 72"/>
                <a:gd name="T2" fmla="*/ 61 w 131"/>
                <a:gd name="T3" fmla="*/ 70 h 72"/>
                <a:gd name="T4" fmla="val 19800000"/>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92" name="Oval 91"/>
            <p:cNvSpPr>
              <a:spLocks noChangeArrowheads="1"/>
            </p:cNvSpPr>
            <p:nvPr/>
          </p:nvSpPr>
          <p:spPr bwMode="black">
            <a:xfrm>
              <a:off x="4910527" y="3931963"/>
              <a:ext cx="33129" cy="294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93" name="Oval 92"/>
            <p:cNvSpPr>
              <a:spLocks noChangeArrowheads="1"/>
            </p:cNvSpPr>
            <p:nvPr/>
          </p:nvSpPr>
          <p:spPr bwMode="black">
            <a:xfrm>
              <a:off x="5078570" y="3931962"/>
              <a:ext cx="33129" cy="294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94" name="Freeform 93"/>
            <p:cNvSpPr>
              <a:spLocks/>
            </p:cNvSpPr>
            <p:nvPr/>
          </p:nvSpPr>
          <p:spPr bwMode="black">
            <a:xfrm>
              <a:off x="4762943" y="4124917"/>
              <a:ext cx="153599" cy="70860"/>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95" name="Freeform 94"/>
            <p:cNvSpPr>
              <a:spLocks/>
            </p:cNvSpPr>
            <p:nvPr/>
          </p:nvSpPr>
          <p:spPr bwMode="black">
            <a:xfrm>
              <a:off x="4781014" y="4301521"/>
              <a:ext cx="155406" cy="69225"/>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96" name="Freeform 95"/>
            <p:cNvSpPr>
              <a:spLocks/>
            </p:cNvSpPr>
            <p:nvPr/>
          </p:nvSpPr>
          <p:spPr bwMode="black">
            <a:xfrm>
              <a:off x="4749687" y="4239383"/>
              <a:ext cx="162635" cy="26164"/>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97" name="Freeform 96"/>
            <p:cNvSpPr>
              <a:spLocks/>
            </p:cNvSpPr>
            <p:nvPr/>
          </p:nvSpPr>
          <p:spPr bwMode="black">
            <a:xfrm>
              <a:off x="5105680" y="4124917"/>
              <a:ext cx="155406" cy="70860"/>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98" name="Freeform 97"/>
            <p:cNvSpPr>
              <a:spLocks/>
            </p:cNvSpPr>
            <p:nvPr/>
          </p:nvSpPr>
          <p:spPr bwMode="black">
            <a:xfrm>
              <a:off x="5085796" y="4301521"/>
              <a:ext cx="155406" cy="69225"/>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99" name="Freeform 98"/>
            <p:cNvSpPr>
              <a:spLocks/>
            </p:cNvSpPr>
            <p:nvPr/>
          </p:nvSpPr>
          <p:spPr bwMode="black">
            <a:xfrm>
              <a:off x="5109885" y="4239383"/>
              <a:ext cx="162635" cy="26164"/>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grpSp>
      <p:sp>
        <p:nvSpPr>
          <p:cNvPr id="79" name="TextBox 78"/>
          <p:cNvSpPr txBox="1"/>
          <p:nvPr/>
        </p:nvSpPr>
        <p:spPr>
          <a:xfrm>
            <a:off x="1061558" y="5599597"/>
            <a:ext cx="10568960" cy="627864"/>
          </a:xfrm>
          <a:prstGeom prst="rect">
            <a:avLst/>
          </a:prstGeom>
          <a:noFill/>
        </p:spPr>
        <p:txBody>
          <a:bodyPr wrap="square" lIns="182880" tIns="146304" rIns="182880" bIns="146304" rtlCol="0">
            <a:spAutoFit/>
          </a:bodyPr>
          <a:lstStyle/>
          <a:p>
            <a:pPr>
              <a:lnSpc>
                <a:spcPct val="90000"/>
              </a:lnSpc>
              <a:spcAft>
                <a:spcPts val="600"/>
              </a:spcAft>
            </a:pPr>
            <a:r>
              <a:rPr lang="en-US" sz="2400" i="1" dirty="0">
                <a:gradFill>
                  <a:gsLst>
                    <a:gs pos="2917">
                      <a:schemeClr val="tx1"/>
                    </a:gs>
                    <a:gs pos="30000">
                      <a:schemeClr val="tx1"/>
                    </a:gs>
                  </a:gsLst>
                  <a:lin ang="5400000" scaled="0"/>
                </a:gradFill>
              </a:rPr>
              <a:t>White Hats race to find bugs and other vulnerabilities for monetary reward</a:t>
            </a:r>
          </a:p>
        </p:txBody>
      </p:sp>
      <p:sp>
        <p:nvSpPr>
          <p:cNvPr id="102" name="TextBox 101"/>
          <p:cNvSpPr txBox="1"/>
          <p:nvPr/>
        </p:nvSpPr>
        <p:spPr>
          <a:xfrm>
            <a:off x="8618621" y="2166941"/>
            <a:ext cx="3098113" cy="544765"/>
          </a:xfrm>
          <a:prstGeom prst="rect">
            <a:avLst/>
          </a:prstGeom>
          <a:noFill/>
        </p:spPr>
        <p:txBody>
          <a:bodyPr wrap="square" lIns="182880" tIns="146304" rIns="182880" bIns="146304" rtlCol="0">
            <a:spAutoFit/>
          </a:bodyPr>
          <a:lstStyle/>
          <a:p>
            <a:pPr>
              <a:lnSpc>
                <a:spcPct val="90000"/>
              </a:lnSpc>
              <a:spcAft>
                <a:spcPts val="600"/>
              </a:spcAft>
            </a:pPr>
            <a:r>
              <a:rPr lang="en-US" i="1" dirty="0">
                <a:solidFill>
                  <a:schemeClr val="tx1">
                    <a:lumMod val="60000"/>
                    <a:lumOff val="40000"/>
                  </a:schemeClr>
                </a:solidFill>
              </a:rPr>
              <a:t>Common bounty programs</a:t>
            </a:r>
          </a:p>
        </p:txBody>
      </p:sp>
      <p:grpSp>
        <p:nvGrpSpPr>
          <p:cNvPr id="11" name="Group 2"/>
          <p:cNvGrpSpPr/>
          <p:nvPr/>
        </p:nvGrpSpPr>
        <p:grpSpPr>
          <a:xfrm>
            <a:off x="914400" y="2400300"/>
            <a:ext cx="2286000" cy="2286000"/>
            <a:chOff x="914400" y="2400300"/>
            <a:chExt cx="2286000" cy="2286000"/>
          </a:xfrm>
        </p:grpSpPr>
        <p:sp>
          <p:nvSpPr>
            <p:cNvPr id="3" name="Oval 3"/>
            <p:cNvSpPr/>
            <p:nvPr/>
          </p:nvSpPr>
          <p:spPr bwMode="auto">
            <a:xfrm>
              <a:off x="914400" y="2400300"/>
              <a:ext cx="2286000" cy="2286000"/>
            </a:xfrm>
            <a:prstGeom prst="ellipse">
              <a:avLst/>
            </a:prstGeom>
            <a:solidFill>
              <a:srgbClr val="FFFFFF">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0" name="Group 5"/>
            <p:cNvGrpSpPr/>
            <p:nvPr/>
          </p:nvGrpSpPr>
          <p:grpSpPr>
            <a:xfrm>
              <a:off x="1295941" y="2921888"/>
              <a:ext cx="1050078" cy="1034700"/>
              <a:chOff x="2666974" y="1602594"/>
              <a:chExt cx="1050078" cy="1034700"/>
            </a:xfrm>
            <a:solidFill>
              <a:schemeClr val="tx2"/>
            </a:solidFill>
          </p:grpSpPr>
          <p:sp>
            <p:nvSpPr>
              <p:cNvPr id="10" name="Freeform 5"/>
              <p:cNvSpPr>
                <a:spLocks noEditPoints="1"/>
              </p:cNvSpPr>
              <p:nvPr/>
            </p:nvSpPr>
            <p:spPr bwMode="auto">
              <a:xfrm>
                <a:off x="2686085" y="1602594"/>
                <a:ext cx="445295" cy="478892"/>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grp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sp>
            <p:nvSpPr>
              <p:cNvPr id="12" name="Freeform 5"/>
              <p:cNvSpPr>
                <a:spLocks noEditPoints="1"/>
              </p:cNvSpPr>
              <p:nvPr/>
            </p:nvSpPr>
            <p:spPr bwMode="auto">
              <a:xfrm>
                <a:off x="3271757" y="1903091"/>
                <a:ext cx="445295" cy="478892"/>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grp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sp>
            <p:nvSpPr>
              <p:cNvPr id="13" name="Freeform 5"/>
              <p:cNvSpPr>
                <a:spLocks noEditPoints="1"/>
              </p:cNvSpPr>
              <p:nvPr/>
            </p:nvSpPr>
            <p:spPr bwMode="auto">
              <a:xfrm>
                <a:off x="2666974" y="2158402"/>
                <a:ext cx="445295" cy="478892"/>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grp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grpSp>
        <p:sp>
          <p:nvSpPr>
            <p:cNvPr id="105" name="Freeform 5"/>
            <p:cNvSpPr>
              <a:spLocks noEditPoints="1"/>
            </p:cNvSpPr>
            <p:nvPr/>
          </p:nvSpPr>
          <p:spPr bwMode="auto">
            <a:xfrm>
              <a:off x="2038590" y="2576055"/>
              <a:ext cx="445295" cy="478892"/>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solidFill>
              <a:schemeClr val="tx2"/>
            </a:solid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sp>
          <p:nvSpPr>
            <p:cNvPr id="106" name="Freeform 5"/>
            <p:cNvSpPr>
              <a:spLocks noEditPoints="1"/>
            </p:cNvSpPr>
            <p:nvPr/>
          </p:nvSpPr>
          <p:spPr bwMode="auto">
            <a:xfrm>
              <a:off x="2454008" y="3276954"/>
              <a:ext cx="445295" cy="478892"/>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solidFill>
              <a:schemeClr val="tx2"/>
            </a:solid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sp>
          <p:nvSpPr>
            <p:cNvPr id="107" name="Freeform 5"/>
            <p:cNvSpPr>
              <a:spLocks noEditPoints="1"/>
            </p:cNvSpPr>
            <p:nvPr/>
          </p:nvSpPr>
          <p:spPr bwMode="auto">
            <a:xfrm>
              <a:off x="1981123" y="3953390"/>
              <a:ext cx="445295" cy="478892"/>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solidFill>
              <a:schemeClr val="tx2"/>
            </a:solid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grpSp>
      <p:cxnSp>
        <p:nvCxnSpPr>
          <p:cNvPr id="111" name="Straight Connector 110"/>
          <p:cNvCxnSpPr/>
          <p:nvPr/>
        </p:nvCxnSpPr>
        <p:spPr>
          <a:xfrm flipH="1">
            <a:off x="5536923" y="2986323"/>
            <a:ext cx="1031794" cy="0"/>
          </a:xfrm>
          <a:prstGeom prst="line">
            <a:avLst/>
          </a:prstGeom>
          <a:ln w="28575">
            <a:solidFill>
              <a:schemeClr val="tx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flipH="1">
            <a:off x="4875371" y="3427702"/>
            <a:ext cx="1031794" cy="0"/>
          </a:xfrm>
          <a:prstGeom prst="line">
            <a:avLst/>
          </a:prstGeom>
          <a:ln w="28575">
            <a:solidFill>
              <a:schemeClr val="tx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flipH="1">
            <a:off x="4875371" y="4569213"/>
            <a:ext cx="1031794" cy="0"/>
          </a:xfrm>
          <a:prstGeom prst="line">
            <a:avLst/>
          </a:prstGeom>
          <a:ln w="28575">
            <a:solidFill>
              <a:schemeClr val="tx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a:endCxn id="3" idx="7"/>
          </p:cNvCxnSpPr>
          <p:nvPr/>
        </p:nvCxnSpPr>
        <p:spPr>
          <a:xfrm flipH="1" flipV="1">
            <a:off x="2865623" y="2735077"/>
            <a:ext cx="2850971" cy="251247"/>
          </a:xfrm>
          <a:prstGeom prst="line">
            <a:avLst/>
          </a:prstGeom>
          <a:ln w="28575">
            <a:solidFill>
              <a:schemeClr val="tx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flipH="1" flipV="1">
            <a:off x="3165100" y="3384428"/>
            <a:ext cx="1713529" cy="43275"/>
          </a:xfrm>
          <a:prstGeom prst="line">
            <a:avLst/>
          </a:prstGeom>
          <a:ln w="28575">
            <a:solidFill>
              <a:schemeClr val="tx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flipH="1" flipV="1">
            <a:off x="3143044" y="3922386"/>
            <a:ext cx="1774956" cy="619666"/>
          </a:xfrm>
          <a:prstGeom prst="line">
            <a:avLst/>
          </a:prstGeom>
          <a:ln w="28575">
            <a:solidFill>
              <a:schemeClr val="tx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3" name="TextBox 102"/>
          <p:cNvSpPr txBox="1"/>
          <p:nvPr/>
        </p:nvSpPr>
        <p:spPr>
          <a:xfrm>
            <a:off x="8664174" y="3375235"/>
            <a:ext cx="3267790" cy="1911292"/>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latin typeface="+mj-lt"/>
              </a:rPr>
              <a:t>The Pentagon (Hack the Pentagon Program)</a:t>
            </a:r>
          </a:p>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latin typeface="+mj-lt"/>
              </a:rPr>
              <a:t>Facebook</a:t>
            </a:r>
          </a:p>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latin typeface="+mj-lt"/>
              </a:rPr>
              <a:t>Google</a:t>
            </a:r>
          </a:p>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latin typeface="+mj-lt"/>
              </a:rPr>
              <a:t>Apple</a:t>
            </a:r>
          </a:p>
        </p:txBody>
      </p:sp>
    </p:spTree>
    <p:extLst>
      <p:ext uri="{BB962C8B-B14F-4D97-AF65-F5344CB8AC3E}">
        <p14:creationId xmlns:p14="http://schemas.microsoft.com/office/powerpoint/2010/main" val="82466789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2533650" y="1860881"/>
            <a:ext cx="9658350" cy="62786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Oval 14"/>
          <p:cNvSpPr/>
          <p:nvPr/>
        </p:nvSpPr>
        <p:spPr bwMode="auto">
          <a:xfrm>
            <a:off x="1836041" y="1860881"/>
            <a:ext cx="1828800" cy="181321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solidFill>
                  <a:schemeClr val="tx1"/>
                </a:solidFill>
              </a:rPr>
              <a:t>The </a:t>
            </a:r>
            <a:r>
              <a:rPr lang="en-US" sz="4800" dirty="0">
                <a:solidFill>
                  <a:schemeClr val="tx1"/>
                </a:solidFill>
              </a:rPr>
              <a:t>Dark</a:t>
            </a:r>
            <a:r>
              <a:rPr lang="en-US" dirty="0">
                <a:solidFill>
                  <a:schemeClr val="tx1"/>
                </a:solidFill>
              </a:rPr>
              <a:t> Web, a playground for Black Hats</a:t>
            </a:r>
          </a:p>
        </p:txBody>
      </p:sp>
      <p:sp>
        <p:nvSpPr>
          <p:cNvPr id="3" name="Text Placeholder 1"/>
          <p:cNvSpPr txBox="1">
            <a:spLocks/>
          </p:cNvSpPr>
          <p:nvPr/>
        </p:nvSpPr>
        <p:spPr>
          <a:xfrm>
            <a:off x="345440" y="929385"/>
            <a:ext cx="1192276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000">
                <a:gradFill>
                  <a:gsLst>
                    <a:gs pos="2917">
                      <a:schemeClr val="tx1"/>
                    </a:gs>
                    <a:gs pos="30000">
                      <a:schemeClr val="tx1"/>
                    </a:gs>
                  </a:gsLst>
                  <a:lin ang="5400000" scaled="0"/>
                </a:gradFill>
                <a:latin typeface="+mj-lt"/>
              </a:defRPr>
            </a:lvl1pPr>
          </a:lstStyle>
          <a:p>
            <a:r>
              <a:rPr lang="en-US" sz="2400" dirty="0"/>
              <a:t>While the Dark Web isn’t solely for criminal activity, it’s attractive to cybercriminals</a:t>
            </a:r>
            <a:endParaRPr lang="en-US" dirty="0"/>
          </a:p>
        </p:txBody>
      </p:sp>
      <p:sp>
        <p:nvSpPr>
          <p:cNvPr id="5" name="Text Placeholder 1"/>
          <p:cNvSpPr txBox="1">
            <a:spLocks/>
          </p:cNvSpPr>
          <p:nvPr/>
        </p:nvSpPr>
        <p:spPr>
          <a:xfrm>
            <a:off x="5181318" y="2796026"/>
            <a:ext cx="6714978" cy="849463"/>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dirty="0">
                <a:solidFill>
                  <a:schemeClr val="tx2"/>
                </a:solidFill>
              </a:rPr>
              <a:t>Unsearchable</a:t>
            </a:r>
            <a:r>
              <a:rPr lang="en-US" sz="2400" dirty="0"/>
              <a:t> world wide web that requires specific software and authentications to access.</a:t>
            </a:r>
          </a:p>
        </p:txBody>
      </p:sp>
      <p:pic>
        <p:nvPicPr>
          <p:cNvPr id="16386" name="Picture 2" descr="http://scraping.pro/res/vwr_proxy/anonymous.jpg"/>
          <p:cNvPicPr>
            <a:picLocks noChangeAspect="1" noChangeArrowheads="1"/>
          </p:cNvPicPr>
          <p:nvPr/>
        </p:nvPicPr>
        <p:blipFill rotWithShape="1">
          <a:blip r:embed="rId3">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l="23439" r="3102"/>
          <a:stretch/>
        </p:blipFill>
        <p:spPr bwMode="auto">
          <a:xfrm>
            <a:off x="-16330" y="1205502"/>
            <a:ext cx="4229101" cy="5757050"/>
          </a:xfrm>
          <a:prstGeom prst="rect">
            <a:avLst/>
          </a:prstGeom>
          <a:noFill/>
          <a:extLst>
            <a:ext uri="{909E8E84-426E-40DD-AFC4-6F175D3DCCD1}">
              <a14:hiddenFill xmlns:a14="http://schemas.microsoft.com/office/drawing/2010/main">
                <a:solidFill>
                  <a:srgbClr val="FFFFFF"/>
                </a:solidFill>
              </a14:hiddenFill>
            </a:ext>
          </a:extLst>
        </p:spPr>
      </p:pic>
      <p:sp>
        <p:nvSpPr>
          <p:cNvPr id="9" name="Freeform 115"/>
          <p:cNvSpPr>
            <a:spLocks noChangeAspect="1" noEditPoints="1"/>
          </p:cNvSpPr>
          <p:nvPr/>
        </p:nvSpPr>
        <p:spPr bwMode="black">
          <a:xfrm>
            <a:off x="4617384" y="2948457"/>
            <a:ext cx="354221" cy="347896"/>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chemeClr val="bg2">
              <a:lumMod val="50000"/>
            </a:schemeClr>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10" name="Freeform 9"/>
          <p:cNvSpPr>
            <a:spLocks noChangeAspect="1"/>
          </p:cNvSpPr>
          <p:nvPr/>
        </p:nvSpPr>
        <p:spPr bwMode="black">
          <a:xfrm>
            <a:off x="5029324" y="4142395"/>
            <a:ext cx="392834" cy="446063"/>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911" tIns="75929" rIns="94911" bIns="75929" numCol="1" spcCol="0" rtlCol="0" fromWordArt="0" anchor="t" anchorCtr="0" forceAA="0" compatLnSpc="1">
            <a:prstTxWarp prst="textNoShape">
              <a:avLst/>
            </a:prstTxWarp>
            <a:noAutofit/>
          </a:bodyPr>
          <a:lstStyle/>
          <a:p>
            <a:pPr algn="ctr" defTabSz="483924" fontAlgn="base">
              <a:lnSpc>
                <a:spcPct val="90000"/>
              </a:lnSpc>
              <a:spcBef>
                <a:spcPct val="0"/>
              </a:spcBef>
              <a:spcAft>
                <a:spcPct val="0"/>
              </a:spcAft>
            </a:pPr>
            <a:endParaRPr lang="en-US" sz="1246" dirty="0">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48"/>
          <p:cNvSpPr>
            <a:spLocks noChangeAspect="1"/>
          </p:cNvSpPr>
          <p:nvPr/>
        </p:nvSpPr>
        <p:spPr bwMode="black">
          <a:xfrm>
            <a:off x="4473218" y="5282101"/>
            <a:ext cx="532939" cy="467614"/>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bg2">
              <a:lumMod val="5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Text Placeholder 1"/>
          <p:cNvSpPr txBox="1">
            <a:spLocks/>
          </p:cNvSpPr>
          <p:nvPr/>
        </p:nvSpPr>
        <p:spPr>
          <a:xfrm>
            <a:off x="5307858" y="5153886"/>
            <a:ext cx="6271398" cy="849463"/>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dirty="0"/>
              <a:t>Criminals use these networks due to the </a:t>
            </a:r>
            <a:r>
              <a:rPr lang="en-US" sz="2400" dirty="0">
                <a:solidFill>
                  <a:schemeClr val="tx2"/>
                </a:solidFill>
              </a:rPr>
              <a:t>anonymity</a:t>
            </a:r>
          </a:p>
        </p:txBody>
      </p:sp>
      <p:sp>
        <p:nvSpPr>
          <p:cNvPr id="13" name="Text Placeholder 1"/>
          <p:cNvSpPr txBox="1">
            <a:spLocks/>
          </p:cNvSpPr>
          <p:nvPr/>
        </p:nvSpPr>
        <p:spPr>
          <a:xfrm>
            <a:off x="5554492" y="4069614"/>
            <a:ext cx="6139064" cy="517065"/>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dirty="0"/>
              <a:t>Consists of </a:t>
            </a:r>
            <a:r>
              <a:rPr lang="en-US" sz="2400" dirty="0">
                <a:solidFill>
                  <a:schemeClr val="tx2"/>
                </a:solidFill>
              </a:rPr>
              <a:t>encrypted</a:t>
            </a:r>
            <a:r>
              <a:rPr lang="en-US" sz="2400" dirty="0"/>
              <a:t> peer-to-peer networks.</a:t>
            </a:r>
          </a:p>
        </p:txBody>
      </p:sp>
      <p:sp>
        <p:nvSpPr>
          <p:cNvPr id="4" name="TextBox 3"/>
          <p:cNvSpPr txBox="1"/>
          <p:nvPr/>
        </p:nvSpPr>
        <p:spPr>
          <a:xfrm>
            <a:off x="4229100" y="1858610"/>
            <a:ext cx="5086350" cy="683264"/>
          </a:xfrm>
          <a:prstGeom prst="rect">
            <a:avLst/>
          </a:prstGeom>
          <a:noFill/>
        </p:spPr>
        <p:txBody>
          <a:bodyPr wrap="square" lIns="182880" tIns="146304" rIns="182880" bIns="146304" rtlCol="0">
            <a:spAutoFit/>
          </a:bodyPr>
          <a:lstStyle/>
          <a:p>
            <a:pPr>
              <a:lnSpc>
                <a:spcPct val="90000"/>
              </a:lnSpc>
              <a:spcAft>
                <a:spcPts val="600"/>
              </a:spcAft>
            </a:pPr>
            <a:r>
              <a:rPr lang="en-US" sz="2800" b="1" dirty="0">
                <a:solidFill>
                  <a:schemeClr val="bg1"/>
                </a:solidFill>
                <a:latin typeface="+mj-lt"/>
              </a:rPr>
              <a:t>Attributes of the dark web</a:t>
            </a:r>
          </a:p>
        </p:txBody>
      </p:sp>
      <p:sp>
        <p:nvSpPr>
          <p:cNvPr id="17" name="Rectangle 16"/>
          <p:cNvSpPr/>
          <p:nvPr/>
        </p:nvSpPr>
        <p:spPr bwMode="auto">
          <a:xfrm rot="18844278">
            <a:off x="3220740" y="1396826"/>
            <a:ext cx="367976" cy="15963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1074144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bwMode="auto">
          <a:xfrm>
            <a:off x="364491" y="3430312"/>
            <a:ext cx="4740910" cy="285618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Isosceles Triangle 39"/>
          <p:cNvSpPr/>
          <p:nvPr/>
        </p:nvSpPr>
        <p:spPr bwMode="auto">
          <a:xfrm rot="10205591" flipH="1">
            <a:off x="4873082" y="4860662"/>
            <a:ext cx="1616158" cy="1296478"/>
          </a:xfrm>
          <a:prstGeom prst="triangle">
            <a:avLst>
              <a:gd name="adj" fmla="val 2373"/>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Isosceles Triangle 7"/>
          <p:cNvSpPr/>
          <p:nvPr/>
        </p:nvSpPr>
        <p:spPr bwMode="auto">
          <a:xfrm rot="15690186">
            <a:off x="4847772" y="2249932"/>
            <a:ext cx="2556349" cy="1135471"/>
          </a:xfrm>
          <a:prstGeom prst="triangle">
            <a:avLst>
              <a:gd name="adj" fmla="val 41314"/>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5375584" y="1427955"/>
            <a:ext cx="1101416" cy="130064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364490" y="1427955"/>
            <a:ext cx="5500885" cy="1752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0" y="267209"/>
            <a:ext cx="11655840" cy="899665"/>
          </a:xfrm>
        </p:spPr>
        <p:txBody>
          <a:bodyPr/>
          <a:lstStyle/>
          <a:p>
            <a:r>
              <a:rPr lang="en-US" sz="4800" dirty="0"/>
              <a:t>Bitcoin, a currency of the Dark Web</a:t>
            </a:r>
            <a:endParaRPr lang="en-US" sz="4800" dirty="0">
              <a:solidFill>
                <a:schemeClr val="tx2"/>
              </a:solidFill>
            </a:endParaRPr>
          </a:p>
        </p:txBody>
      </p:sp>
      <p:pic>
        <p:nvPicPr>
          <p:cNvPr id="17410" name="Picture 2" descr="http://1.bp.blogspot.com/-4C9JA9vwxXE/VXS2ZxtNt4I/AAAAAAAAAzM/UEmsXHMBaIo/s1600/bitcoin-btc-symbol-d7595075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75982" y="3806111"/>
            <a:ext cx="1633537" cy="1633538"/>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3"/>
          <p:cNvGrpSpPr/>
          <p:nvPr/>
        </p:nvGrpSpPr>
        <p:grpSpPr>
          <a:xfrm>
            <a:off x="511629" y="1663081"/>
            <a:ext cx="592975" cy="592975"/>
            <a:chOff x="735378" y="1610565"/>
            <a:chExt cx="592975" cy="592975"/>
          </a:xfrm>
        </p:grpSpPr>
        <p:sp>
          <p:nvSpPr>
            <p:cNvPr id="26" name="Oval 7"/>
            <p:cNvSpPr/>
            <p:nvPr/>
          </p:nvSpPr>
          <p:spPr bwMode="auto">
            <a:xfrm>
              <a:off x="735378" y="1610565"/>
              <a:ext cx="592975" cy="59297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Freeform 125"/>
            <p:cNvSpPr>
              <a:spLocks noChangeAspect="1" noEditPoints="1"/>
            </p:cNvSpPr>
            <p:nvPr/>
          </p:nvSpPr>
          <p:spPr bwMode="black">
            <a:xfrm>
              <a:off x="897451" y="1716120"/>
              <a:ext cx="268829" cy="404825"/>
            </a:xfrm>
            <a:custGeom>
              <a:avLst/>
              <a:gdLst>
                <a:gd name="T0" fmla="*/ 2 w 51"/>
                <a:gd name="T1" fmla="*/ 16 h 77"/>
                <a:gd name="T2" fmla="*/ 7 w 51"/>
                <a:gd name="T3" fmla="*/ 8 h 77"/>
                <a:gd name="T4" fmla="*/ 15 w 51"/>
                <a:gd name="T5" fmla="*/ 2 h 77"/>
                <a:gd name="T6" fmla="*/ 25 w 51"/>
                <a:gd name="T7" fmla="*/ 0 h 77"/>
                <a:gd name="T8" fmla="*/ 37 w 51"/>
                <a:gd name="T9" fmla="*/ 2 h 77"/>
                <a:gd name="T10" fmla="*/ 45 w 51"/>
                <a:gd name="T11" fmla="*/ 7 h 77"/>
                <a:gd name="T12" fmla="*/ 50 w 51"/>
                <a:gd name="T13" fmla="*/ 14 h 77"/>
                <a:gd name="T14" fmla="*/ 51 w 51"/>
                <a:gd name="T15" fmla="*/ 20 h 77"/>
                <a:gd name="T16" fmla="*/ 50 w 51"/>
                <a:gd name="T17" fmla="*/ 29 h 77"/>
                <a:gd name="T18" fmla="*/ 46 w 51"/>
                <a:gd name="T19" fmla="*/ 34 h 77"/>
                <a:gd name="T20" fmla="*/ 42 w 51"/>
                <a:gd name="T21" fmla="*/ 38 h 77"/>
                <a:gd name="T22" fmla="*/ 38 w 51"/>
                <a:gd name="T23" fmla="*/ 41 h 77"/>
                <a:gd name="T24" fmla="*/ 34 w 51"/>
                <a:gd name="T25" fmla="*/ 45 h 77"/>
                <a:gd name="T26" fmla="*/ 32 w 51"/>
                <a:gd name="T27" fmla="*/ 50 h 77"/>
                <a:gd name="T28" fmla="*/ 32 w 51"/>
                <a:gd name="T29" fmla="*/ 54 h 77"/>
                <a:gd name="T30" fmla="*/ 18 w 51"/>
                <a:gd name="T31" fmla="*/ 54 h 77"/>
                <a:gd name="T32" fmla="*/ 18 w 51"/>
                <a:gd name="T33" fmla="*/ 49 h 77"/>
                <a:gd name="T34" fmla="*/ 20 w 51"/>
                <a:gd name="T35" fmla="*/ 42 h 77"/>
                <a:gd name="T36" fmla="*/ 23 w 51"/>
                <a:gd name="T37" fmla="*/ 37 h 77"/>
                <a:gd name="T38" fmla="*/ 27 w 51"/>
                <a:gd name="T39" fmla="*/ 33 h 77"/>
                <a:gd name="T40" fmla="*/ 31 w 51"/>
                <a:gd name="T41" fmla="*/ 30 h 77"/>
                <a:gd name="T42" fmla="*/ 34 w 51"/>
                <a:gd name="T43" fmla="*/ 27 h 77"/>
                <a:gd name="T44" fmla="*/ 35 w 51"/>
                <a:gd name="T45" fmla="*/ 22 h 77"/>
                <a:gd name="T46" fmla="*/ 32 w 51"/>
                <a:gd name="T47" fmla="*/ 15 h 77"/>
                <a:gd name="T48" fmla="*/ 26 w 51"/>
                <a:gd name="T49" fmla="*/ 13 h 77"/>
                <a:gd name="T50" fmla="*/ 21 w 51"/>
                <a:gd name="T51" fmla="*/ 14 h 77"/>
                <a:gd name="T52" fmla="*/ 18 w 51"/>
                <a:gd name="T53" fmla="*/ 17 h 77"/>
                <a:gd name="T54" fmla="*/ 16 w 51"/>
                <a:gd name="T55" fmla="*/ 21 h 77"/>
                <a:gd name="T56" fmla="*/ 15 w 51"/>
                <a:gd name="T57" fmla="*/ 26 h 77"/>
                <a:gd name="T58" fmla="*/ 0 w 51"/>
                <a:gd name="T59" fmla="*/ 26 h 77"/>
                <a:gd name="T60" fmla="*/ 2 w 51"/>
                <a:gd name="T61" fmla="*/ 16 h 77"/>
                <a:gd name="T62" fmla="*/ 33 w 51"/>
                <a:gd name="T63" fmla="*/ 68 h 77"/>
                <a:gd name="T64" fmla="*/ 25 w 51"/>
                <a:gd name="T65" fmla="*/ 60 h 77"/>
                <a:gd name="T66" fmla="*/ 17 w 51"/>
                <a:gd name="T67" fmla="*/ 68 h 77"/>
                <a:gd name="T68" fmla="*/ 25 w 51"/>
                <a:gd name="T69" fmla="*/ 77 h 77"/>
                <a:gd name="T70" fmla="*/ 33 w 51"/>
                <a:gd name="T71" fmla="*/ 6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 h="77">
                  <a:moveTo>
                    <a:pt x="2" y="16"/>
                  </a:moveTo>
                  <a:cubicBezTo>
                    <a:pt x="3" y="13"/>
                    <a:pt x="5" y="10"/>
                    <a:pt x="7" y="8"/>
                  </a:cubicBezTo>
                  <a:cubicBezTo>
                    <a:pt x="9" y="5"/>
                    <a:pt x="12" y="4"/>
                    <a:pt x="15" y="2"/>
                  </a:cubicBezTo>
                  <a:cubicBezTo>
                    <a:pt x="18" y="1"/>
                    <a:pt x="21" y="0"/>
                    <a:pt x="25" y="0"/>
                  </a:cubicBezTo>
                  <a:cubicBezTo>
                    <a:pt x="30" y="0"/>
                    <a:pt x="34" y="1"/>
                    <a:pt x="37" y="2"/>
                  </a:cubicBezTo>
                  <a:cubicBezTo>
                    <a:pt x="41" y="4"/>
                    <a:pt x="43" y="5"/>
                    <a:pt x="45" y="7"/>
                  </a:cubicBezTo>
                  <a:cubicBezTo>
                    <a:pt x="47" y="9"/>
                    <a:pt x="49" y="12"/>
                    <a:pt x="50" y="14"/>
                  </a:cubicBezTo>
                  <a:cubicBezTo>
                    <a:pt x="50" y="16"/>
                    <a:pt x="51" y="18"/>
                    <a:pt x="51" y="20"/>
                  </a:cubicBezTo>
                  <a:cubicBezTo>
                    <a:pt x="51" y="24"/>
                    <a:pt x="50" y="26"/>
                    <a:pt x="50" y="29"/>
                  </a:cubicBezTo>
                  <a:cubicBezTo>
                    <a:pt x="49" y="31"/>
                    <a:pt x="48" y="33"/>
                    <a:pt x="46" y="34"/>
                  </a:cubicBezTo>
                  <a:cubicBezTo>
                    <a:pt x="45" y="36"/>
                    <a:pt x="44" y="37"/>
                    <a:pt x="42" y="38"/>
                  </a:cubicBezTo>
                  <a:cubicBezTo>
                    <a:pt x="41" y="39"/>
                    <a:pt x="39" y="40"/>
                    <a:pt x="38" y="41"/>
                  </a:cubicBezTo>
                  <a:cubicBezTo>
                    <a:pt x="36" y="42"/>
                    <a:pt x="35" y="44"/>
                    <a:pt x="34" y="45"/>
                  </a:cubicBezTo>
                  <a:cubicBezTo>
                    <a:pt x="33" y="46"/>
                    <a:pt x="32" y="48"/>
                    <a:pt x="32" y="50"/>
                  </a:cubicBezTo>
                  <a:cubicBezTo>
                    <a:pt x="32" y="54"/>
                    <a:pt x="32" y="54"/>
                    <a:pt x="32" y="54"/>
                  </a:cubicBezTo>
                  <a:cubicBezTo>
                    <a:pt x="18" y="54"/>
                    <a:pt x="18" y="54"/>
                    <a:pt x="18" y="54"/>
                  </a:cubicBezTo>
                  <a:cubicBezTo>
                    <a:pt x="18" y="49"/>
                    <a:pt x="18" y="49"/>
                    <a:pt x="18" y="49"/>
                  </a:cubicBezTo>
                  <a:cubicBezTo>
                    <a:pt x="18" y="46"/>
                    <a:pt x="19" y="44"/>
                    <a:pt x="20" y="42"/>
                  </a:cubicBezTo>
                  <a:cubicBezTo>
                    <a:pt x="21" y="40"/>
                    <a:pt x="22" y="38"/>
                    <a:pt x="23" y="37"/>
                  </a:cubicBezTo>
                  <a:cubicBezTo>
                    <a:pt x="24" y="35"/>
                    <a:pt x="25" y="34"/>
                    <a:pt x="27" y="33"/>
                  </a:cubicBezTo>
                  <a:cubicBezTo>
                    <a:pt x="28" y="32"/>
                    <a:pt x="30" y="31"/>
                    <a:pt x="31" y="30"/>
                  </a:cubicBezTo>
                  <a:cubicBezTo>
                    <a:pt x="32" y="29"/>
                    <a:pt x="33" y="28"/>
                    <a:pt x="34" y="27"/>
                  </a:cubicBezTo>
                  <a:cubicBezTo>
                    <a:pt x="34" y="25"/>
                    <a:pt x="35" y="24"/>
                    <a:pt x="35" y="22"/>
                  </a:cubicBezTo>
                  <a:cubicBezTo>
                    <a:pt x="35" y="19"/>
                    <a:pt x="34" y="16"/>
                    <a:pt x="32" y="15"/>
                  </a:cubicBezTo>
                  <a:cubicBezTo>
                    <a:pt x="31" y="13"/>
                    <a:pt x="29" y="13"/>
                    <a:pt x="26" y="13"/>
                  </a:cubicBezTo>
                  <a:cubicBezTo>
                    <a:pt x="24" y="13"/>
                    <a:pt x="22" y="13"/>
                    <a:pt x="21" y="14"/>
                  </a:cubicBezTo>
                  <a:cubicBezTo>
                    <a:pt x="20" y="14"/>
                    <a:pt x="18" y="15"/>
                    <a:pt x="18" y="17"/>
                  </a:cubicBezTo>
                  <a:cubicBezTo>
                    <a:pt x="17" y="18"/>
                    <a:pt x="16" y="19"/>
                    <a:pt x="16" y="21"/>
                  </a:cubicBezTo>
                  <a:cubicBezTo>
                    <a:pt x="15" y="22"/>
                    <a:pt x="15" y="24"/>
                    <a:pt x="15" y="26"/>
                  </a:cubicBezTo>
                  <a:cubicBezTo>
                    <a:pt x="0" y="26"/>
                    <a:pt x="0" y="26"/>
                    <a:pt x="0" y="26"/>
                  </a:cubicBezTo>
                  <a:cubicBezTo>
                    <a:pt x="0" y="22"/>
                    <a:pt x="0" y="19"/>
                    <a:pt x="2" y="16"/>
                  </a:cubicBezTo>
                  <a:moveTo>
                    <a:pt x="33" y="68"/>
                  </a:moveTo>
                  <a:cubicBezTo>
                    <a:pt x="33" y="64"/>
                    <a:pt x="29" y="60"/>
                    <a:pt x="25" y="60"/>
                  </a:cubicBezTo>
                  <a:cubicBezTo>
                    <a:pt x="20" y="60"/>
                    <a:pt x="17" y="64"/>
                    <a:pt x="17" y="68"/>
                  </a:cubicBezTo>
                  <a:cubicBezTo>
                    <a:pt x="17" y="73"/>
                    <a:pt x="20" y="77"/>
                    <a:pt x="25" y="77"/>
                  </a:cubicBezTo>
                  <a:cubicBezTo>
                    <a:pt x="29" y="77"/>
                    <a:pt x="33" y="73"/>
                    <a:pt x="33" y="68"/>
                  </a:cubicBezTo>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sp>
        <p:nvSpPr>
          <p:cNvPr id="28" name="TextBox 27"/>
          <p:cNvSpPr txBox="1"/>
          <p:nvPr/>
        </p:nvSpPr>
        <p:spPr>
          <a:xfrm>
            <a:off x="1143000" y="1650057"/>
            <a:ext cx="2781300" cy="627864"/>
          </a:xfrm>
          <a:prstGeom prst="rect">
            <a:avLst/>
          </a:prstGeom>
          <a:noFill/>
        </p:spPr>
        <p:txBody>
          <a:bodyPr wrap="square" lIns="182880" tIns="146304" rIns="182880" bIns="146304" rtlCol="0">
            <a:spAutoFit/>
          </a:bodyPr>
          <a:lstStyle/>
          <a:p>
            <a:pPr>
              <a:lnSpc>
                <a:spcPct val="90000"/>
              </a:lnSpc>
              <a:spcAft>
                <a:spcPts val="600"/>
              </a:spcAft>
            </a:pPr>
            <a:r>
              <a:rPr lang="en-US" sz="2400" i="1" dirty="0">
                <a:gradFill>
                  <a:gsLst>
                    <a:gs pos="2917">
                      <a:schemeClr val="tx1"/>
                    </a:gs>
                    <a:gs pos="30000">
                      <a:schemeClr val="tx1"/>
                    </a:gs>
                  </a:gsLst>
                  <a:lin ang="5400000" scaled="0"/>
                </a:gradFill>
              </a:rPr>
              <a:t>What is it?</a:t>
            </a:r>
          </a:p>
        </p:txBody>
      </p:sp>
      <p:sp>
        <p:nvSpPr>
          <p:cNvPr id="29" name="Freeform 99"/>
          <p:cNvSpPr>
            <a:spLocks noChangeAspect="1"/>
          </p:cNvSpPr>
          <p:nvPr/>
        </p:nvSpPr>
        <p:spPr bwMode="black">
          <a:xfrm>
            <a:off x="1455300" y="2341280"/>
            <a:ext cx="285750" cy="209404"/>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lumMod val="40000"/>
              <a:lumOff val="60000"/>
            </a:schemeClr>
          </a:solidFill>
          <a:ln>
            <a:noFill/>
          </a:ln>
          <a:extLst/>
        </p:spPr>
        <p:txBody>
          <a:bodyPr vert="horz" wrap="square" lIns="93278" tIns="46639" rIns="93278" bIns="46639" numCol="1" anchor="t" anchorCtr="0" compatLnSpc="1">
            <a:prstTxWarp prst="textNoShape">
              <a:avLst/>
            </a:prstTxWarp>
          </a:bodyPr>
          <a:lstStyle/>
          <a:p>
            <a:endParaRPr lang="en-US" sz="1600" dirty="0">
              <a:solidFill>
                <a:srgbClr val="000000"/>
              </a:solidFill>
            </a:endParaRPr>
          </a:p>
        </p:txBody>
      </p:sp>
      <p:sp>
        <p:nvSpPr>
          <p:cNvPr id="30" name="TextBox 29"/>
          <p:cNvSpPr txBox="1"/>
          <p:nvPr/>
        </p:nvSpPr>
        <p:spPr>
          <a:xfrm>
            <a:off x="1645800" y="2160437"/>
            <a:ext cx="4219575" cy="849463"/>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A virtual currency that uses block chains for digital payments. </a:t>
            </a:r>
          </a:p>
        </p:txBody>
      </p:sp>
      <p:sp>
        <p:nvSpPr>
          <p:cNvPr id="31" name="TextBox 30"/>
          <p:cNvSpPr txBox="1"/>
          <p:nvPr/>
        </p:nvSpPr>
        <p:spPr>
          <a:xfrm>
            <a:off x="1333500" y="3500531"/>
            <a:ext cx="2781300" cy="627864"/>
          </a:xfrm>
          <a:prstGeom prst="rect">
            <a:avLst/>
          </a:prstGeom>
          <a:noFill/>
        </p:spPr>
        <p:txBody>
          <a:bodyPr wrap="square" lIns="182880" tIns="146304" rIns="182880" bIns="146304" rtlCol="0">
            <a:spAutoFit/>
          </a:bodyPr>
          <a:lstStyle/>
          <a:p>
            <a:pPr>
              <a:lnSpc>
                <a:spcPct val="90000"/>
              </a:lnSpc>
              <a:spcAft>
                <a:spcPts val="600"/>
              </a:spcAft>
            </a:pPr>
            <a:r>
              <a:rPr lang="en-US" sz="2400" i="1" dirty="0">
                <a:gradFill>
                  <a:gsLst>
                    <a:gs pos="2917">
                      <a:schemeClr val="tx1"/>
                    </a:gs>
                    <a:gs pos="30000">
                      <a:schemeClr val="tx1"/>
                    </a:gs>
                  </a:gsLst>
                  <a:lin ang="5400000" scaled="0"/>
                </a:gradFill>
              </a:rPr>
              <a:t>Main Features</a:t>
            </a:r>
          </a:p>
        </p:txBody>
      </p:sp>
      <p:sp>
        <p:nvSpPr>
          <p:cNvPr id="32" name="Freeform 21"/>
          <p:cNvSpPr>
            <a:spLocks noChangeAspect="1" noEditPoints="1"/>
          </p:cNvSpPr>
          <p:nvPr/>
        </p:nvSpPr>
        <p:spPr bwMode="black">
          <a:xfrm>
            <a:off x="593964" y="3483828"/>
            <a:ext cx="739536" cy="644567"/>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911" tIns="75929" rIns="94911" bIns="75929" numCol="1" spcCol="0" rtlCol="0" fromWordArt="0" anchor="t" anchorCtr="0" forceAA="0" compatLnSpc="1">
            <a:prstTxWarp prst="textNoShape">
              <a:avLst/>
            </a:prstTxWarp>
            <a:noAutofit/>
          </a:bodyPr>
          <a:lstStyle/>
          <a:p>
            <a:pPr algn="ctr" defTabSz="483924" fontAlgn="base">
              <a:lnSpc>
                <a:spcPct val="90000"/>
              </a:lnSpc>
              <a:spcBef>
                <a:spcPct val="0"/>
              </a:spcBef>
              <a:spcAft>
                <a:spcPct val="0"/>
              </a:spcAft>
            </a:pPr>
            <a:endParaRPr lang="en-US" sz="1246" dirty="0">
              <a:gradFill>
                <a:gsLst>
                  <a:gs pos="0">
                    <a:srgbClr val="FFFFFF"/>
                  </a:gs>
                  <a:gs pos="100000">
                    <a:srgbClr val="FFFFFF"/>
                  </a:gs>
                </a:gsLst>
                <a:lin ang="5400000" scaled="0"/>
              </a:gradFill>
              <a:ea typeface="Segoe UI" pitchFamily="34" charset="0"/>
              <a:cs typeface="Segoe UI" pitchFamily="34" charset="0"/>
            </a:endParaRPr>
          </a:p>
        </p:txBody>
      </p:sp>
      <p:sp>
        <p:nvSpPr>
          <p:cNvPr id="33" name="TextBox 32"/>
          <p:cNvSpPr txBox="1"/>
          <p:nvPr/>
        </p:nvSpPr>
        <p:spPr>
          <a:xfrm>
            <a:off x="1836300" y="4133013"/>
            <a:ext cx="3933825" cy="1988237"/>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Anonymous transactions</a:t>
            </a:r>
          </a:p>
          <a:p>
            <a:pPr>
              <a:lnSpc>
                <a:spcPct val="90000"/>
              </a:lnSpc>
              <a:spcAft>
                <a:spcPts val="600"/>
              </a:spcAft>
            </a:pPr>
            <a:r>
              <a:rPr lang="en-US" sz="2000" dirty="0">
                <a:gradFill>
                  <a:gsLst>
                    <a:gs pos="2917">
                      <a:schemeClr val="tx1"/>
                    </a:gs>
                    <a:gs pos="30000">
                      <a:schemeClr val="tx1"/>
                    </a:gs>
                  </a:gsLst>
                  <a:lin ang="5400000" scaled="0"/>
                </a:gradFill>
              </a:rPr>
              <a:t>Decentralized</a:t>
            </a:r>
          </a:p>
          <a:p>
            <a:pPr>
              <a:lnSpc>
                <a:spcPct val="90000"/>
              </a:lnSpc>
              <a:spcAft>
                <a:spcPts val="600"/>
              </a:spcAft>
            </a:pPr>
            <a:r>
              <a:rPr lang="en-US" sz="2000" dirty="0">
                <a:gradFill>
                  <a:gsLst>
                    <a:gs pos="2917">
                      <a:schemeClr val="tx1"/>
                    </a:gs>
                    <a:gs pos="30000">
                      <a:schemeClr val="tx1"/>
                    </a:gs>
                  </a:gsLst>
                  <a:lin ang="5400000" scaled="0"/>
                </a:gradFill>
              </a:rPr>
              <a:t>Global</a:t>
            </a:r>
          </a:p>
          <a:p>
            <a:pPr>
              <a:lnSpc>
                <a:spcPct val="90000"/>
              </a:lnSpc>
              <a:spcAft>
                <a:spcPts val="600"/>
              </a:spcAft>
            </a:pPr>
            <a:r>
              <a:rPr lang="en-US" sz="2000" dirty="0">
                <a:gradFill>
                  <a:gsLst>
                    <a:gs pos="2917">
                      <a:schemeClr val="tx1"/>
                    </a:gs>
                    <a:gs pos="30000">
                      <a:schemeClr val="tx1"/>
                    </a:gs>
                  </a:gsLst>
                  <a:lin ang="5400000" scaled="0"/>
                </a:gradFill>
              </a:rPr>
              <a:t>100% digital</a:t>
            </a:r>
          </a:p>
          <a:p>
            <a:pPr>
              <a:lnSpc>
                <a:spcPct val="90000"/>
              </a:lnSpc>
              <a:spcAft>
                <a:spcPts val="600"/>
              </a:spcAft>
            </a:pPr>
            <a:r>
              <a:rPr lang="en-US" sz="2000" dirty="0">
                <a:gradFill>
                  <a:gsLst>
                    <a:gs pos="2917">
                      <a:schemeClr val="tx1"/>
                    </a:gs>
                    <a:gs pos="30000">
                      <a:schemeClr val="tx1"/>
                    </a:gs>
                  </a:gsLst>
                  <a:lin ang="5400000" scaled="0"/>
                </a:gradFill>
              </a:rPr>
              <a:t>Based on Sha-256 hash</a:t>
            </a:r>
          </a:p>
        </p:txBody>
      </p:sp>
      <p:sp>
        <p:nvSpPr>
          <p:cNvPr id="34" name="Freeform 99"/>
          <p:cNvSpPr>
            <a:spLocks noChangeAspect="1"/>
          </p:cNvSpPr>
          <p:nvPr/>
        </p:nvSpPr>
        <p:spPr bwMode="black">
          <a:xfrm>
            <a:off x="1645800" y="4297222"/>
            <a:ext cx="285750" cy="209404"/>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lumMod val="40000"/>
              <a:lumOff val="60000"/>
            </a:schemeClr>
          </a:solidFill>
          <a:ln>
            <a:noFill/>
          </a:ln>
          <a:extLst/>
        </p:spPr>
        <p:txBody>
          <a:bodyPr vert="horz" wrap="square" lIns="93278" tIns="46639" rIns="93278" bIns="46639" numCol="1" anchor="t" anchorCtr="0" compatLnSpc="1">
            <a:prstTxWarp prst="textNoShape">
              <a:avLst/>
            </a:prstTxWarp>
          </a:bodyPr>
          <a:lstStyle/>
          <a:p>
            <a:endParaRPr lang="en-US" sz="1600" dirty="0">
              <a:solidFill>
                <a:srgbClr val="000000"/>
              </a:solidFill>
            </a:endParaRPr>
          </a:p>
        </p:txBody>
      </p:sp>
      <p:sp>
        <p:nvSpPr>
          <p:cNvPr id="35" name="Freeform 99"/>
          <p:cNvSpPr>
            <a:spLocks noChangeAspect="1"/>
          </p:cNvSpPr>
          <p:nvPr/>
        </p:nvSpPr>
        <p:spPr bwMode="black">
          <a:xfrm>
            <a:off x="1645800" y="4654410"/>
            <a:ext cx="285750" cy="209404"/>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lumMod val="40000"/>
              <a:lumOff val="60000"/>
            </a:schemeClr>
          </a:solidFill>
          <a:ln>
            <a:noFill/>
          </a:ln>
          <a:extLst/>
        </p:spPr>
        <p:txBody>
          <a:bodyPr vert="horz" wrap="square" lIns="93278" tIns="46639" rIns="93278" bIns="46639" numCol="1" anchor="t" anchorCtr="0" compatLnSpc="1">
            <a:prstTxWarp prst="textNoShape">
              <a:avLst/>
            </a:prstTxWarp>
          </a:bodyPr>
          <a:lstStyle/>
          <a:p>
            <a:endParaRPr lang="en-US" sz="1600" dirty="0">
              <a:solidFill>
                <a:srgbClr val="000000"/>
              </a:solidFill>
            </a:endParaRPr>
          </a:p>
        </p:txBody>
      </p:sp>
      <p:sp>
        <p:nvSpPr>
          <p:cNvPr id="36" name="Freeform 99"/>
          <p:cNvSpPr>
            <a:spLocks noChangeAspect="1"/>
          </p:cNvSpPr>
          <p:nvPr/>
        </p:nvSpPr>
        <p:spPr bwMode="black">
          <a:xfrm>
            <a:off x="1645800" y="5011598"/>
            <a:ext cx="285750" cy="209404"/>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lumMod val="40000"/>
              <a:lumOff val="60000"/>
            </a:schemeClr>
          </a:solidFill>
          <a:ln>
            <a:noFill/>
          </a:ln>
          <a:extLst/>
        </p:spPr>
        <p:txBody>
          <a:bodyPr vert="horz" wrap="square" lIns="93278" tIns="46639" rIns="93278" bIns="46639" numCol="1" anchor="t" anchorCtr="0" compatLnSpc="1">
            <a:prstTxWarp prst="textNoShape">
              <a:avLst/>
            </a:prstTxWarp>
          </a:bodyPr>
          <a:lstStyle/>
          <a:p>
            <a:endParaRPr lang="en-US" sz="1600" dirty="0">
              <a:solidFill>
                <a:srgbClr val="000000"/>
              </a:solidFill>
            </a:endParaRPr>
          </a:p>
        </p:txBody>
      </p:sp>
      <p:sp>
        <p:nvSpPr>
          <p:cNvPr id="37" name="Freeform 99"/>
          <p:cNvSpPr>
            <a:spLocks noChangeAspect="1"/>
          </p:cNvSpPr>
          <p:nvPr/>
        </p:nvSpPr>
        <p:spPr bwMode="black">
          <a:xfrm>
            <a:off x="1645800" y="5368786"/>
            <a:ext cx="285750" cy="209404"/>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lumMod val="40000"/>
              <a:lumOff val="60000"/>
            </a:schemeClr>
          </a:solidFill>
          <a:ln>
            <a:noFill/>
          </a:ln>
          <a:extLst/>
        </p:spPr>
        <p:txBody>
          <a:bodyPr vert="horz" wrap="square" lIns="93278" tIns="46639" rIns="93278" bIns="46639" numCol="1" anchor="t" anchorCtr="0" compatLnSpc="1">
            <a:prstTxWarp prst="textNoShape">
              <a:avLst/>
            </a:prstTxWarp>
          </a:bodyPr>
          <a:lstStyle/>
          <a:p>
            <a:endParaRPr lang="en-US" sz="1600" dirty="0">
              <a:solidFill>
                <a:srgbClr val="000000"/>
              </a:solidFill>
            </a:endParaRPr>
          </a:p>
        </p:txBody>
      </p:sp>
      <p:sp>
        <p:nvSpPr>
          <p:cNvPr id="38" name="Freeform 99"/>
          <p:cNvSpPr>
            <a:spLocks noChangeAspect="1"/>
          </p:cNvSpPr>
          <p:nvPr/>
        </p:nvSpPr>
        <p:spPr bwMode="black">
          <a:xfrm>
            <a:off x="1645800" y="5725972"/>
            <a:ext cx="285750" cy="209404"/>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lumMod val="40000"/>
              <a:lumOff val="60000"/>
            </a:schemeClr>
          </a:solidFill>
          <a:ln>
            <a:noFill/>
          </a:ln>
          <a:extLst/>
        </p:spPr>
        <p:txBody>
          <a:bodyPr vert="horz" wrap="square" lIns="93278" tIns="46639" rIns="93278" bIns="46639" numCol="1" anchor="t" anchorCtr="0" compatLnSpc="1">
            <a:prstTxWarp prst="textNoShape">
              <a:avLst/>
            </a:prstTxWarp>
          </a:bodyPr>
          <a:lstStyle/>
          <a:p>
            <a:endParaRPr lang="en-US" sz="1600" dirty="0">
              <a:solidFill>
                <a:srgbClr val="000000"/>
              </a:solidFill>
            </a:endParaRPr>
          </a:p>
        </p:txBody>
      </p:sp>
      <p:sp>
        <p:nvSpPr>
          <p:cNvPr id="41" name="TextBox 40"/>
          <p:cNvSpPr txBox="1"/>
          <p:nvPr/>
        </p:nvSpPr>
        <p:spPr>
          <a:xfrm>
            <a:off x="7928284" y="1705307"/>
            <a:ext cx="3692216" cy="960263"/>
          </a:xfrm>
          <a:prstGeom prst="rect">
            <a:avLst/>
          </a:prstGeom>
          <a:noFill/>
        </p:spPr>
        <p:txBody>
          <a:bodyPr wrap="square" lIns="182880" tIns="146304" rIns="182880" bIns="146304" rtlCol="0">
            <a:spAutoFit/>
          </a:bodyPr>
          <a:lstStyle/>
          <a:p>
            <a:pPr>
              <a:lnSpc>
                <a:spcPct val="90000"/>
              </a:lnSpc>
              <a:spcAft>
                <a:spcPts val="600"/>
              </a:spcAft>
            </a:pPr>
            <a:r>
              <a:rPr lang="en-US" sz="2400" i="1" dirty="0">
                <a:gradFill>
                  <a:gsLst>
                    <a:gs pos="2917">
                      <a:schemeClr val="tx1"/>
                    </a:gs>
                    <a:gs pos="30000">
                      <a:schemeClr val="tx1"/>
                    </a:gs>
                  </a:gsLst>
                  <a:lin ang="5400000" scaled="0"/>
                </a:gradFill>
              </a:rPr>
              <a:t>Why and how do hackers target Bitcoin?</a:t>
            </a:r>
          </a:p>
        </p:txBody>
      </p:sp>
      <p:sp>
        <p:nvSpPr>
          <p:cNvPr id="42" name="Freeform 22"/>
          <p:cNvSpPr>
            <a:spLocks noEditPoints="1"/>
          </p:cNvSpPr>
          <p:nvPr/>
        </p:nvSpPr>
        <p:spPr bwMode="black">
          <a:xfrm>
            <a:off x="7385462" y="1851622"/>
            <a:ext cx="594360" cy="594360"/>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chemeClr val="accent6"/>
          </a:solid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44" name="TextBox 43"/>
          <p:cNvSpPr txBox="1"/>
          <p:nvPr/>
        </p:nvSpPr>
        <p:spPr>
          <a:xfrm>
            <a:off x="8015376" y="2626042"/>
            <a:ext cx="3884425" cy="1292662"/>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latin typeface="+mj-lt"/>
              </a:rPr>
              <a:t>Because Bitcoin is unregulated and complex in nature to the general consumer, hackers will target bitcoin holders</a:t>
            </a:r>
          </a:p>
        </p:txBody>
      </p:sp>
      <p:sp>
        <p:nvSpPr>
          <p:cNvPr id="45" name="TextBox 44"/>
          <p:cNvSpPr txBox="1"/>
          <p:nvPr/>
        </p:nvSpPr>
        <p:spPr>
          <a:xfrm>
            <a:off x="8015376" y="3865035"/>
            <a:ext cx="3884425" cy="1541961"/>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latin typeface="+mj-lt"/>
              </a:rPr>
              <a:t>Several methods exist on how to steal bitcoins; the most typical way is hacking into a computer via phishing and taking bitcoins without notice from the holder</a:t>
            </a:r>
          </a:p>
        </p:txBody>
      </p:sp>
      <p:sp>
        <p:nvSpPr>
          <p:cNvPr id="46" name="TextBox 45"/>
          <p:cNvSpPr txBox="1"/>
          <p:nvPr/>
        </p:nvSpPr>
        <p:spPr>
          <a:xfrm>
            <a:off x="8015376" y="5398504"/>
            <a:ext cx="3884425" cy="1043363"/>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latin typeface="+mj-lt"/>
              </a:rPr>
              <a:t>Bitcoin holders have no recourse after the hack because of the lack of tracing ability with the currency</a:t>
            </a:r>
          </a:p>
        </p:txBody>
      </p:sp>
      <p:cxnSp>
        <p:nvCxnSpPr>
          <p:cNvPr id="47" name="Straight Connector 46"/>
          <p:cNvCxnSpPr/>
          <p:nvPr/>
        </p:nvCxnSpPr>
        <p:spPr>
          <a:xfrm>
            <a:off x="8012480" y="2801337"/>
            <a:ext cx="0" cy="3566160"/>
          </a:xfrm>
          <a:prstGeom prst="line">
            <a:avLst/>
          </a:prstGeom>
          <a:ln>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531551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3867150" y="1867531"/>
            <a:ext cx="7848379" cy="144716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sz="4800" dirty="0"/>
              <a:t>Hacking</a:t>
            </a:r>
            <a:r>
              <a:rPr lang="en-US" dirty="0"/>
              <a:t> </a:t>
            </a:r>
            <a:r>
              <a:rPr lang="en-US"/>
              <a:t>for fun</a:t>
            </a:r>
            <a:endParaRPr lang="en-US" dirty="0"/>
          </a:p>
        </p:txBody>
      </p:sp>
      <p:sp>
        <p:nvSpPr>
          <p:cNvPr id="3" name="TextBox 2"/>
          <p:cNvSpPr txBox="1"/>
          <p:nvPr/>
        </p:nvSpPr>
        <p:spPr>
          <a:xfrm>
            <a:off x="3886199" y="1993225"/>
            <a:ext cx="7829330" cy="1126462"/>
          </a:xfrm>
          <a:prstGeom prst="rect">
            <a:avLst/>
          </a:prstGeom>
          <a:noFill/>
        </p:spPr>
        <p:txBody>
          <a:bodyPr wrap="square" lIns="182880" tIns="146304" rIns="182880" bIns="146304" rtlCol="0">
            <a:spAutoFit/>
          </a:bodyPr>
          <a:lstStyle/>
          <a:p>
            <a:pPr algn="just">
              <a:lnSpc>
                <a:spcPct val="90000"/>
              </a:lnSpc>
              <a:spcAft>
                <a:spcPts val="600"/>
              </a:spcAft>
            </a:pPr>
            <a:r>
              <a:rPr lang="en-US" sz="2000" dirty="0">
                <a:latin typeface="+mj-lt"/>
              </a:rPr>
              <a:t>Hack conferences attract 1,000s around the world each year.  Two of the most notable conventions are DEFCON and blackhat, which are both held back-to-back in Las Vegas, Nevada every year.</a:t>
            </a:r>
          </a:p>
        </p:txBody>
      </p:sp>
      <p:sp>
        <p:nvSpPr>
          <p:cNvPr id="7" name="TextBox 6"/>
          <p:cNvSpPr txBox="1"/>
          <p:nvPr/>
        </p:nvSpPr>
        <p:spPr>
          <a:xfrm>
            <a:off x="269240" y="1036776"/>
            <a:ext cx="952224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There’s the good, the bad, and the ones that do it for fun</a:t>
            </a:r>
          </a:p>
        </p:txBody>
      </p:sp>
      <p:sp>
        <p:nvSpPr>
          <p:cNvPr id="10" name="Rectangle 9"/>
          <p:cNvSpPr/>
          <p:nvPr/>
        </p:nvSpPr>
        <p:spPr bwMode="auto">
          <a:xfrm>
            <a:off x="533400" y="1869874"/>
            <a:ext cx="3086100" cy="45137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800" b="1" dirty="0">
                <a:gradFill>
                  <a:gsLst>
                    <a:gs pos="0">
                      <a:srgbClr val="FFFFFF"/>
                    </a:gs>
                    <a:gs pos="100000">
                      <a:srgbClr val="FFFFFF"/>
                    </a:gs>
                  </a:gsLst>
                  <a:lin ang="5400000" scaled="0"/>
                </a:gradFill>
                <a:ea typeface="Segoe UI" pitchFamily="34" charset="0"/>
                <a:cs typeface="Segoe UI" pitchFamily="34" charset="0"/>
              </a:rPr>
              <a:t>Every year hackers meet and hack each other for fun</a:t>
            </a:r>
          </a:p>
        </p:txBody>
      </p:sp>
      <p:pic>
        <p:nvPicPr>
          <p:cNvPr id="16" name="Picture 4" descr="http://cdn2.hubspot.net/hubfs/341979/Blog_pics/black-hat-usa-2015.jpg"/>
          <p:cNvPicPr>
            <a:picLocks noChangeAspect="1" noChangeArrowheads="1"/>
          </p:cNvPicPr>
          <p:nvPr/>
        </p:nvPicPr>
        <p:blipFill rotWithShape="1">
          <a:blip r:embed="rId3" cstate="print">
            <a:duotone>
              <a:schemeClr val="bg2">
                <a:shade val="45000"/>
                <a:satMod val="135000"/>
              </a:schemeClr>
              <a:prstClr val="white"/>
            </a:duotone>
            <a:extLst>
              <a:ext uri="{28A0092B-C50C-407E-A947-70E740481C1C}">
                <a14:useLocalDpi xmlns:a14="http://schemas.microsoft.com/office/drawing/2010/main" val="0"/>
              </a:ext>
            </a:extLst>
          </a:blip>
          <a:srcRect l="12976" r="9353" b="8081"/>
          <a:stretch/>
        </p:blipFill>
        <p:spPr bwMode="auto">
          <a:xfrm>
            <a:off x="3867150" y="3517821"/>
            <a:ext cx="3638550" cy="286576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https://www.wired.com/images_blogs/threatlevel/2010/08/defcon_19a.jpg"/>
          <p:cNvPicPr>
            <a:picLocks noChangeAspect="1" noChangeArrowheads="1"/>
          </p:cNvPicPr>
          <p:nvPr/>
        </p:nvPicPr>
        <p:blipFill rotWithShape="1">
          <a:blip r:embed="rId4">
            <a:duotone>
              <a:schemeClr val="bg2">
                <a:shade val="45000"/>
                <a:satMod val="135000"/>
              </a:schemeClr>
              <a:prstClr val="white"/>
            </a:duotone>
            <a:extLst>
              <a:ext uri="{28A0092B-C50C-407E-A947-70E740481C1C}">
                <a14:useLocalDpi xmlns:a14="http://schemas.microsoft.com/office/drawing/2010/main" val="0"/>
              </a:ext>
            </a:extLst>
          </a:blip>
          <a:srcRect l="12659" t="-1270" b="4210"/>
          <a:stretch/>
        </p:blipFill>
        <p:spPr bwMode="auto">
          <a:xfrm>
            <a:off x="7772399" y="3460152"/>
            <a:ext cx="3943131" cy="2923429"/>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3867149" y="4198752"/>
            <a:ext cx="3638551" cy="1258806"/>
          </a:xfrm>
          <a:prstGeom prst="rect">
            <a:avLst/>
          </a:prstGeom>
          <a:solidFill>
            <a:srgbClr val="FFFFFF">
              <a:alpha val="50196"/>
            </a:srgbClr>
          </a:solidFill>
        </p:spPr>
        <p:txBody>
          <a:bodyPr wrap="square" lIns="182880" tIns="146304" rIns="182880" bIns="146304" rtlCol="0">
            <a:spAutoFit/>
          </a:bodyPr>
          <a:lstStyle/>
          <a:p>
            <a:pPr algn="ctr">
              <a:lnSpc>
                <a:spcPct val="90000"/>
              </a:lnSpc>
              <a:spcAft>
                <a:spcPts val="600"/>
              </a:spcAft>
            </a:pPr>
            <a:r>
              <a:rPr lang="en-US" sz="3600" b="1" dirty="0">
                <a:solidFill>
                  <a:schemeClr val="accent1"/>
                </a:solidFill>
              </a:rPr>
              <a:t>blackhat</a:t>
            </a:r>
          </a:p>
          <a:p>
            <a:pPr algn="ctr">
              <a:lnSpc>
                <a:spcPct val="90000"/>
              </a:lnSpc>
              <a:spcAft>
                <a:spcPts val="600"/>
              </a:spcAft>
            </a:pPr>
            <a:r>
              <a:rPr lang="en-US" sz="2800" dirty="0">
                <a:solidFill>
                  <a:schemeClr val="accent1"/>
                </a:solidFill>
              </a:rPr>
              <a:t>July 2016</a:t>
            </a:r>
          </a:p>
        </p:txBody>
      </p:sp>
      <p:sp>
        <p:nvSpPr>
          <p:cNvPr id="19" name="TextBox 18"/>
          <p:cNvSpPr txBox="1"/>
          <p:nvPr/>
        </p:nvSpPr>
        <p:spPr>
          <a:xfrm>
            <a:off x="7772398" y="4198752"/>
            <a:ext cx="3943131" cy="1258806"/>
          </a:xfrm>
          <a:prstGeom prst="rect">
            <a:avLst/>
          </a:prstGeom>
          <a:solidFill>
            <a:srgbClr val="FFFFFF">
              <a:alpha val="50196"/>
            </a:srgbClr>
          </a:solidFill>
        </p:spPr>
        <p:txBody>
          <a:bodyPr wrap="square" lIns="182880" tIns="146304" rIns="182880" bIns="146304" rtlCol="0">
            <a:spAutoFit/>
          </a:bodyPr>
          <a:lstStyle/>
          <a:p>
            <a:pPr algn="ctr">
              <a:lnSpc>
                <a:spcPct val="90000"/>
              </a:lnSpc>
              <a:spcAft>
                <a:spcPts val="600"/>
              </a:spcAft>
            </a:pPr>
            <a:r>
              <a:rPr lang="en-US" sz="3600" b="1" dirty="0">
                <a:solidFill>
                  <a:schemeClr val="accent1"/>
                </a:solidFill>
              </a:rPr>
              <a:t>DEFCON</a:t>
            </a:r>
          </a:p>
          <a:p>
            <a:pPr algn="ctr">
              <a:lnSpc>
                <a:spcPct val="90000"/>
              </a:lnSpc>
              <a:spcAft>
                <a:spcPts val="600"/>
              </a:spcAft>
            </a:pPr>
            <a:r>
              <a:rPr lang="en-US" sz="2800" dirty="0">
                <a:solidFill>
                  <a:schemeClr val="accent1"/>
                </a:solidFill>
              </a:rPr>
              <a:t>July 2016</a:t>
            </a:r>
          </a:p>
        </p:txBody>
      </p:sp>
    </p:spTree>
    <p:extLst>
      <p:ext uri="{BB962C8B-B14F-4D97-AF65-F5344CB8AC3E}">
        <p14:creationId xmlns:p14="http://schemas.microsoft.com/office/powerpoint/2010/main" val="308149048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Attack Vectors </a:t>
            </a:r>
            <a:br>
              <a:rPr lang="en-US" dirty="0"/>
            </a:br>
            <a:r>
              <a:rPr lang="en-US" sz="6000" dirty="0"/>
              <a:t>(the hacks)</a:t>
            </a:r>
            <a:endParaRPr lang="en-US" dirty="0"/>
          </a:p>
        </p:txBody>
      </p:sp>
    </p:spTree>
    <p:extLst>
      <p:ext uri="{BB962C8B-B14F-4D97-AF65-F5344CB8AC3E}">
        <p14:creationId xmlns:p14="http://schemas.microsoft.com/office/powerpoint/2010/main" val="22280008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ybersecurity,</a:t>
            </a:r>
            <a:br>
              <a:rPr lang="en-US" dirty="0"/>
            </a:br>
            <a:r>
              <a:rPr lang="en-US" dirty="0"/>
              <a:t>an ever-moving target</a:t>
            </a:r>
          </a:p>
        </p:txBody>
      </p:sp>
      <p:sp>
        <p:nvSpPr>
          <p:cNvPr id="3" name="Text Placeholder 2"/>
          <p:cNvSpPr>
            <a:spLocks noGrp="1"/>
          </p:cNvSpPr>
          <p:nvPr>
            <p:ph type="body" sz="quarter" idx="14"/>
          </p:nvPr>
        </p:nvSpPr>
        <p:spPr/>
        <p:txBody>
          <a:bodyPr/>
          <a:lstStyle/>
          <a:p>
            <a:r>
              <a:rPr lang="en-US" dirty="0"/>
              <a:t>&lt;insert your name&gt;</a:t>
            </a:r>
          </a:p>
          <a:p>
            <a:r>
              <a:rPr lang="en-US" i="1" dirty="0"/>
              <a:t>&lt;Technical Evangelist&gt;</a:t>
            </a:r>
          </a:p>
        </p:txBody>
      </p:sp>
    </p:spTree>
    <p:extLst>
      <p:ext uri="{BB962C8B-B14F-4D97-AF65-F5344CB8AC3E}">
        <p14:creationId xmlns:p14="http://schemas.microsoft.com/office/powerpoint/2010/main" val="19836975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a:t>The history of hacking</a:t>
            </a:r>
            <a:endParaRPr lang="en-US" sz="4800" dirty="0"/>
          </a:p>
        </p:txBody>
      </p:sp>
      <p:cxnSp>
        <p:nvCxnSpPr>
          <p:cNvPr id="20" name="Straight Connector 18"/>
          <p:cNvCxnSpPr/>
          <p:nvPr/>
        </p:nvCxnSpPr>
        <p:spPr>
          <a:xfrm>
            <a:off x="4210050" y="2590800"/>
            <a:ext cx="0" cy="3657600"/>
          </a:xfrm>
          <a:prstGeom prst="line">
            <a:avLst/>
          </a:prstGeom>
          <a:ln>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1"/>
          <p:cNvCxnSpPr/>
          <p:nvPr/>
        </p:nvCxnSpPr>
        <p:spPr>
          <a:xfrm>
            <a:off x="7984270" y="2590800"/>
            <a:ext cx="0" cy="3657600"/>
          </a:xfrm>
          <a:prstGeom prst="line">
            <a:avLst/>
          </a:prstGeom>
          <a:ln>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2"/>
          <p:cNvSpPr txBox="1"/>
          <p:nvPr/>
        </p:nvSpPr>
        <p:spPr>
          <a:xfrm>
            <a:off x="495300" y="1085062"/>
            <a:ext cx="2941084" cy="627864"/>
          </a:xfrm>
          <a:prstGeom prst="rect">
            <a:avLst/>
          </a:prstGeom>
          <a:noFill/>
        </p:spPr>
        <p:txBody>
          <a:bodyPr wrap="square" lIns="182880" tIns="146304" rIns="182880" bIns="146304" rtlCol="0">
            <a:spAutoFit/>
          </a:bodyPr>
          <a:lstStyle/>
          <a:p>
            <a:pPr>
              <a:lnSpc>
                <a:spcPct val="90000"/>
              </a:lnSpc>
              <a:spcAft>
                <a:spcPts val="600"/>
              </a:spcAft>
            </a:pPr>
            <a:r>
              <a:rPr lang="en-US" sz="2400" i="1" dirty="0">
                <a:solidFill>
                  <a:schemeClr val="bg1">
                    <a:lumMod val="50000"/>
                  </a:schemeClr>
                </a:solidFill>
              </a:rPr>
              <a:t>Long time ago…</a:t>
            </a:r>
            <a:endParaRPr lang="en-US" sz="2000" i="1" dirty="0">
              <a:solidFill>
                <a:schemeClr val="bg1">
                  <a:lumMod val="50000"/>
                </a:schemeClr>
              </a:solidFill>
            </a:endParaRPr>
          </a:p>
        </p:txBody>
      </p:sp>
      <p:sp>
        <p:nvSpPr>
          <p:cNvPr id="26" name="TextBox 28"/>
          <p:cNvSpPr txBox="1"/>
          <p:nvPr/>
        </p:nvSpPr>
        <p:spPr>
          <a:xfrm>
            <a:off x="4258834" y="1085062"/>
            <a:ext cx="3404718" cy="627864"/>
          </a:xfrm>
          <a:prstGeom prst="rect">
            <a:avLst/>
          </a:prstGeom>
          <a:noFill/>
        </p:spPr>
        <p:txBody>
          <a:bodyPr wrap="square" lIns="182880" tIns="146304" rIns="182880" bIns="146304" rtlCol="0">
            <a:spAutoFit/>
          </a:bodyPr>
          <a:lstStyle/>
          <a:p>
            <a:pPr>
              <a:lnSpc>
                <a:spcPct val="90000"/>
              </a:lnSpc>
              <a:spcAft>
                <a:spcPts val="600"/>
              </a:spcAft>
            </a:pPr>
            <a:r>
              <a:rPr lang="en-US" sz="2400" i="1" dirty="0">
                <a:solidFill>
                  <a:schemeClr val="bg1">
                    <a:lumMod val="50000"/>
                  </a:schemeClr>
                </a:solidFill>
              </a:rPr>
              <a:t>Little while ago…</a:t>
            </a:r>
            <a:endParaRPr lang="en-US" sz="2000" i="1" dirty="0">
              <a:solidFill>
                <a:schemeClr val="bg1">
                  <a:lumMod val="50000"/>
                </a:schemeClr>
              </a:solidFill>
            </a:endParaRPr>
          </a:p>
        </p:txBody>
      </p:sp>
      <p:sp>
        <p:nvSpPr>
          <p:cNvPr id="27" name="TextBox 30"/>
          <p:cNvSpPr txBox="1"/>
          <p:nvPr/>
        </p:nvSpPr>
        <p:spPr>
          <a:xfrm>
            <a:off x="8044332" y="1085062"/>
            <a:ext cx="3404718" cy="627864"/>
          </a:xfrm>
          <a:prstGeom prst="rect">
            <a:avLst/>
          </a:prstGeom>
          <a:noFill/>
        </p:spPr>
        <p:txBody>
          <a:bodyPr wrap="square" lIns="182880" tIns="146304" rIns="182880" bIns="146304" rtlCol="0">
            <a:spAutoFit/>
          </a:bodyPr>
          <a:lstStyle/>
          <a:p>
            <a:pPr>
              <a:lnSpc>
                <a:spcPct val="90000"/>
              </a:lnSpc>
              <a:spcAft>
                <a:spcPts val="600"/>
              </a:spcAft>
            </a:pPr>
            <a:r>
              <a:rPr lang="en-US" sz="2400" i="1" dirty="0">
                <a:solidFill>
                  <a:schemeClr val="tx2"/>
                </a:solidFill>
              </a:rPr>
              <a:t>Today</a:t>
            </a:r>
            <a:endParaRPr lang="en-US" sz="2000" i="1" dirty="0">
              <a:solidFill>
                <a:schemeClr val="tx2"/>
              </a:solidFill>
            </a:endParaRPr>
          </a:p>
        </p:txBody>
      </p:sp>
      <p:sp>
        <p:nvSpPr>
          <p:cNvPr id="28" name="Rectangle 31"/>
          <p:cNvSpPr/>
          <p:nvPr/>
        </p:nvSpPr>
        <p:spPr bwMode="auto">
          <a:xfrm>
            <a:off x="723900" y="2623205"/>
            <a:ext cx="2686050" cy="11049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Isosceles Triangle 32"/>
          <p:cNvSpPr/>
          <p:nvPr/>
        </p:nvSpPr>
        <p:spPr bwMode="auto">
          <a:xfrm rot="1099416" flipV="1">
            <a:off x="747054" y="3294642"/>
            <a:ext cx="704850" cy="866926"/>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TextBox 33"/>
          <p:cNvSpPr txBox="1"/>
          <p:nvPr/>
        </p:nvSpPr>
        <p:spPr>
          <a:xfrm>
            <a:off x="679600" y="2584679"/>
            <a:ext cx="2695436" cy="1126462"/>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If you insert this floppy disk into your desktop</a:t>
            </a:r>
          </a:p>
        </p:txBody>
      </p:sp>
      <p:sp>
        <p:nvSpPr>
          <p:cNvPr id="35" name="Rectangle 35"/>
          <p:cNvSpPr/>
          <p:nvPr/>
        </p:nvSpPr>
        <p:spPr bwMode="auto">
          <a:xfrm>
            <a:off x="4414809" y="2623205"/>
            <a:ext cx="2686050" cy="11049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Isosceles Triangle 37"/>
          <p:cNvSpPr/>
          <p:nvPr/>
        </p:nvSpPr>
        <p:spPr bwMode="auto">
          <a:xfrm rot="1099416" flipV="1">
            <a:off x="4437963" y="3294642"/>
            <a:ext cx="704850" cy="866926"/>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TextBox 39"/>
          <p:cNvSpPr txBox="1"/>
          <p:nvPr/>
        </p:nvSpPr>
        <p:spPr>
          <a:xfrm>
            <a:off x="4370508" y="2584679"/>
            <a:ext cx="2955279" cy="1126462"/>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If I can just get through this firewall and into the network</a:t>
            </a:r>
          </a:p>
        </p:txBody>
      </p:sp>
      <p:sp>
        <p:nvSpPr>
          <p:cNvPr id="41" name="Rectangle 41"/>
          <p:cNvSpPr/>
          <p:nvPr/>
        </p:nvSpPr>
        <p:spPr bwMode="auto">
          <a:xfrm>
            <a:off x="8189028" y="2653098"/>
            <a:ext cx="3102230" cy="11049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Isosceles Triangle 43"/>
          <p:cNvSpPr/>
          <p:nvPr/>
        </p:nvSpPr>
        <p:spPr bwMode="auto">
          <a:xfrm rot="1099416" flipV="1">
            <a:off x="8212182" y="3324535"/>
            <a:ext cx="704850" cy="866926"/>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TextBox 46"/>
          <p:cNvSpPr txBox="1"/>
          <p:nvPr/>
        </p:nvSpPr>
        <p:spPr>
          <a:xfrm>
            <a:off x="8100563" y="2614572"/>
            <a:ext cx="3413331" cy="1126462"/>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Your laptop, phone, home alarm, and bank are all connected?</a:t>
            </a:r>
          </a:p>
        </p:txBody>
      </p:sp>
      <p:sp>
        <p:nvSpPr>
          <p:cNvPr id="46" name="Freeform 47"/>
          <p:cNvSpPr>
            <a:spLocks noChangeAspect="1"/>
          </p:cNvSpPr>
          <p:nvPr/>
        </p:nvSpPr>
        <p:spPr bwMode="black">
          <a:xfrm>
            <a:off x="1774169" y="4250387"/>
            <a:ext cx="870487" cy="698274"/>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solidFill>
            <a:schemeClr val="tx1">
              <a:lumMod val="60000"/>
              <a:lumOff val="4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9"/>
          <p:cNvGrpSpPr/>
          <p:nvPr/>
        </p:nvGrpSpPr>
        <p:grpSpPr>
          <a:xfrm>
            <a:off x="2999009" y="5129598"/>
            <a:ext cx="566556" cy="965453"/>
            <a:chOff x="1693683" y="5206747"/>
            <a:chExt cx="566556" cy="965453"/>
          </a:xfrm>
          <a:solidFill>
            <a:schemeClr val="tx1">
              <a:lumMod val="60000"/>
              <a:lumOff val="40000"/>
            </a:schemeClr>
          </a:solidFill>
        </p:grpSpPr>
        <p:sp>
          <p:nvSpPr>
            <p:cNvPr id="47" name="Freeform 51"/>
            <p:cNvSpPr>
              <a:spLocks noChangeAspect="1"/>
            </p:cNvSpPr>
            <p:nvPr/>
          </p:nvSpPr>
          <p:spPr bwMode="black">
            <a:xfrm>
              <a:off x="1693683" y="5206747"/>
              <a:ext cx="566556" cy="338806"/>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Rounded Rectangle 54"/>
            <p:cNvSpPr/>
            <p:nvPr/>
          </p:nvSpPr>
          <p:spPr bwMode="auto">
            <a:xfrm>
              <a:off x="1693683" y="5545554"/>
              <a:ext cx="566556" cy="626646"/>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51" name="Freeform 55"/>
          <p:cNvSpPr/>
          <p:nvPr/>
        </p:nvSpPr>
        <p:spPr bwMode="auto">
          <a:xfrm>
            <a:off x="2165515" y="4933950"/>
            <a:ext cx="863435" cy="1314450"/>
          </a:xfrm>
          <a:custGeom>
            <a:avLst/>
            <a:gdLst>
              <a:gd name="connsiteX0" fmla="*/ 272885 w 863435"/>
              <a:gd name="connsiteY0" fmla="*/ 0 h 1314450"/>
              <a:gd name="connsiteX1" fmla="*/ 444335 w 863435"/>
              <a:gd name="connsiteY1" fmla="*/ 38100 h 1314450"/>
              <a:gd name="connsiteX2" fmla="*/ 482435 w 863435"/>
              <a:gd name="connsiteY2" fmla="*/ 95250 h 1314450"/>
              <a:gd name="connsiteX3" fmla="*/ 520535 w 863435"/>
              <a:gd name="connsiteY3" fmla="*/ 266700 h 1314450"/>
              <a:gd name="connsiteX4" fmla="*/ 539585 w 863435"/>
              <a:gd name="connsiteY4" fmla="*/ 571500 h 1314450"/>
              <a:gd name="connsiteX5" fmla="*/ 577685 w 863435"/>
              <a:gd name="connsiteY5" fmla="*/ 971550 h 1314450"/>
              <a:gd name="connsiteX6" fmla="*/ 501485 w 863435"/>
              <a:gd name="connsiteY6" fmla="*/ 1238250 h 1314450"/>
              <a:gd name="connsiteX7" fmla="*/ 425285 w 863435"/>
              <a:gd name="connsiteY7" fmla="*/ 1257300 h 1314450"/>
              <a:gd name="connsiteX8" fmla="*/ 368135 w 863435"/>
              <a:gd name="connsiteY8" fmla="*/ 1276350 h 1314450"/>
              <a:gd name="connsiteX9" fmla="*/ 215735 w 863435"/>
              <a:gd name="connsiteY9" fmla="*/ 1314450 h 1314450"/>
              <a:gd name="connsiteX10" fmla="*/ 63335 w 863435"/>
              <a:gd name="connsiteY10" fmla="*/ 1295400 h 1314450"/>
              <a:gd name="connsiteX11" fmla="*/ 6185 w 863435"/>
              <a:gd name="connsiteY11" fmla="*/ 1276350 h 1314450"/>
              <a:gd name="connsiteX12" fmla="*/ 139535 w 863435"/>
              <a:gd name="connsiteY12" fmla="*/ 1162050 h 1314450"/>
              <a:gd name="connsiteX13" fmla="*/ 253835 w 863435"/>
              <a:gd name="connsiteY13" fmla="*/ 1143000 h 1314450"/>
              <a:gd name="connsiteX14" fmla="*/ 463385 w 863435"/>
              <a:gd name="connsiteY14" fmla="*/ 1085850 h 1314450"/>
              <a:gd name="connsiteX15" fmla="*/ 596735 w 863435"/>
              <a:gd name="connsiteY15" fmla="*/ 1066800 h 1314450"/>
              <a:gd name="connsiteX16" fmla="*/ 653885 w 863435"/>
              <a:gd name="connsiteY16" fmla="*/ 1047750 h 1314450"/>
              <a:gd name="connsiteX17" fmla="*/ 672935 w 863435"/>
              <a:gd name="connsiteY17" fmla="*/ 990600 h 1314450"/>
              <a:gd name="connsiteX18" fmla="*/ 711035 w 863435"/>
              <a:gd name="connsiteY18" fmla="*/ 933450 h 1314450"/>
              <a:gd name="connsiteX19" fmla="*/ 730085 w 863435"/>
              <a:gd name="connsiteY19" fmla="*/ 876300 h 1314450"/>
              <a:gd name="connsiteX20" fmla="*/ 844385 w 863435"/>
              <a:gd name="connsiteY20" fmla="*/ 819150 h 1314450"/>
              <a:gd name="connsiteX21" fmla="*/ 863435 w 863435"/>
              <a:gd name="connsiteY21" fmla="*/ 800100 h 131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3435" h="1314450">
                <a:moveTo>
                  <a:pt x="272885" y="0"/>
                </a:moveTo>
                <a:cubicBezTo>
                  <a:pt x="274055" y="195"/>
                  <a:pt x="419653" y="18354"/>
                  <a:pt x="444335" y="38100"/>
                </a:cubicBezTo>
                <a:cubicBezTo>
                  <a:pt x="462213" y="52403"/>
                  <a:pt x="469735" y="76200"/>
                  <a:pt x="482435" y="95250"/>
                </a:cubicBezTo>
                <a:cubicBezTo>
                  <a:pt x="492791" y="136673"/>
                  <a:pt x="516814" y="227632"/>
                  <a:pt x="520535" y="266700"/>
                </a:cubicBezTo>
                <a:cubicBezTo>
                  <a:pt x="530186" y="368040"/>
                  <a:pt x="533607" y="469877"/>
                  <a:pt x="539585" y="571500"/>
                </a:cubicBezTo>
                <a:cubicBezTo>
                  <a:pt x="561189" y="938770"/>
                  <a:pt x="522182" y="805040"/>
                  <a:pt x="577685" y="971550"/>
                </a:cubicBezTo>
                <a:cubicBezTo>
                  <a:pt x="565033" y="1123374"/>
                  <a:pt x="619772" y="1187556"/>
                  <a:pt x="501485" y="1238250"/>
                </a:cubicBezTo>
                <a:cubicBezTo>
                  <a:pt x="477420" y="1248563"/>
                  <a:pt x="450459" y="1250107"/>
                  <a:pt x="425285" y="1257300"/>
                </a:cubicBezTo>
                <a:cubicBezTo>
                  <a:pt x="405977" y="1262817"/>
                  <a:pt x="387508" y="1271066"/>
                  <a:pt x="368135" y="1276350"/>
                </a:cubicBezTo>
                <a:cubicBezTo>
                  <a:pt x="317617" y="1290128"/>
                  <a:pt x="215735" y="1314450"/>
                  <a:pt x="215735" y="1314450"/>
                </a:cubicBezTo>
                <a:cubicBezTo>
                  <a:pt x="164935" y="1308100"/>
                  <a:pt x="113705" y="1304558"/>
                  <a:pt x="63335" y="1295400"/>
                </a:cubicBezTo>
                <a:cubicBezTo>
                  <a:pt x="43578" y="1291808"/>
                  <a:pt x="13643" y="1294994"/>
                  <a:pt x="6185" y="1276350"/>
                </a:cubicBezTo>
                <a:cubicBezTo>
                  <a:pt x="-29532" y="1187057"/>
                  <a:pt x="99347" y="1168748"/>
                  <a:pt x="139535" y="1162050"/>
                </a:cubicBezTo>
                <a:cubicBezTo>
                  <a:pt x="177635" y="1155700"/>
                  <a:pt x="216129" y="1151379"/>
                  <a:pt x="253835" y="1143000"/>
                </a:cubicBezTo>
                <a:cubicBezTo>
                  <a:pt x="421235" y="1105800"/>
                  <a:pt x="133547" y="1132970"/>
                  <a:pt x="463385" y="1085850"/>
                </a:cubicBezTo>
                <a:lnTo>
                  <a:pt x="596735" y="1066800"/>
                </a:lnTo>
                <a:cubicBezTo>
                  <a:pt x="615785" y="1060450"/>
                  <a:pt x="639686" y="1061949"/>
                  <a:pt x="653885" y="1047750"/>
                </a:cubicBezTo>
                <a:cubicBezTo>
                  <a:pt x="668084" y="1033551"/>
                  <a:pt x="663955" y="1008561"/>
                  <a:pt x="672935" y="990600"/>
                </a:cubicBezTo>
                <a:cubicBezTo>
                  <a:pt x="683174" y="970122"/>
                  <a:pt x="700796" y="953928"/>
                  <a:pt x="711035" y="933450"/>
                </a:cubicBezTo>
                <a:cubicBezTo>
                  <a:pt x="720015" y="915489"/>
                  <a:pt x="717541" y="891980"/>
                  <a:pt x="730085" y="876300"/>
                </a:cubicBezTo>
                <a:cubicBezTo>
                  <a:pt x="766481" y="830804"/>
                  <a:pt x="798371" y="842157"/>
                  <a:pt x="844385" y="819150"/>
                </a:cubicBezTo>
                <a:cubicBezTo>
                  <a:pt x="852417" y="815134"/>
                  <a:pt x="857085" y="806450"/>
                  <a:pt x="863435" y="800100"/>
                </a:cubicBezTo>
              </a:path>
            </a:pathLst>
          </a:custGeom>
          <a:no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54" name="TextBox 56"/>
          <p:cNvSpPr txBox="1"/>
          <p:nvPr/>
        </p:nvSpPr>
        <p:spPr>
          <a:xfrm>
            <a:off x="726585" y="5301302"/>
            <a:ext cx="1492763" cy="1043363"/>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tx2"/>
                </a:solidFill>
              </a:rPr>
              <a:t>Attacks on a single computer</a:t>
            </a:r>
          </a:p>
        </p:txBody>
      </p:sp>
      <p:grpSp>
        <p:nvGrpSpPr>
          <p:cNvPr id="144" name="Group 57"/>
          <p:cNvGrpSpPr/>
          <p:nvPr/>
        </p:nvGrpSpPr>
        <p:grpSpPr>
          <a:xfrm>
            <a:off x="9642160" y="4056262"/>
            <a:ext cx="1923493" cy="1920240"/>
            <a:chOff x="9590401" y="3935491"/>
            <a:chExt cx="1923493" cy="1920240"/>
          </a:xfrm>
        </p:grpSpPr>
        <p:sp>
          <p:nvSpPr>
            <p:cNvPr id="82" name="Oval 81"/>
            <p:cNvSpPr/>
            <p:nvPr/>
          </p:nvSpPr>
          <p:spPr bwMode="auto">
            <a:xfrm>
              <a:off x="9590401" y="3935491"/>
              <a:ext cx="1923493" cy="1920240"/>
            </a:xfrm>
            <a:prstGeom prst="ellipse">
              <a:avLst/>
            </a:pr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5" name="Group 58"/>
            <p:cNvGrpSpPr/>
            <p:nvPr/>
          </p:nvGrpSpPr>
          <p:grpSpPr bwMode="black">
            <a:xfrm>
              <a:off x="9739149" y="4184985"/>
              <a:ext cx="1625997" cy="1421252"/>
              <a:chOff x="2462213" y="1598613"/>
              <a:chExt cx="4222750" cy="3667125"/>
            </a:xfrm>
          </p:grpSpPr>
          <p:sp>
            <p:nvSpPr>
              <p:cNvPr id="56" name="Rectangle 6"/>
              <p:cNvSpPr>
                <a:spLocks noChangeArrowheads="1"/>
              </p:cNvSpPr>
              <p:nvPr/>
            </p:nvSpPr>
            <p:spPr bwMode="black">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7" name="Rectangle 7"/>
              <p:cNvSpPr>
                <a:spLocks noChangeArrowheads="1"/>
              </p:cNvSpPr>
              <p:nvPr/>
            </p:nvSpPr>
            <p:spPr bwMode="black">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8" name="Rectangle 8"/>
              <p:cNvSpPr>
                <a:spLocks noChangeArrowheads="1"/>
              </p:cNvSpPr>
              <p:nvPr/>
            </p:nvSpPr>
            <p:spPr bwMode="black">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9" name="Rectangle 9"/>
              <p:cNvSpPr>
                <a:spLocks noChangeArrowheads="1"/>
              </p:cNvSpPr>
              <p:nvPr/>
            </p:nvSpPr>
            <p:spPr bwMode="black">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0"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1"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2"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3"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4"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5"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6"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7"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8"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9"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0"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1"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2"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3"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4"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5"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6"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7" name="Oval 27"/>
              <p:cNvSpPr>
                <a:spLocks noChangeArrowheads="1"/>
              </p:cNvSpPr>
              <p:nvPr/>
            </p:nvSpPr>
            <p:spPr bwMode="black">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8" name="Oval 28"/>
              <p:cNvSpPr>
                <a:spLocks noChangeArrowheads="1"/>
              </p:cNvSpPr>
              <p:nvPr/>
            </p:nvSpPr>
            <p:spPr bwMode="black">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9" name="Oval 29"/>
              <p:cNvSpPr>
                <a:spLocks noChangeArrowheads="1"/>
              </p:cNvSpPr>
              <p:nvPr/>
            </p:nvSpPr>
            <p:spPr bwMode="black">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0"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1"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sp>
        <p:nvSpPr>
          <p:cNvPr id="84" name="TextBox 89"/>
          <p:cNvSpPr txBox="1"/>
          <p:nvPr/>
        </p:nvSpPr>
        <p:spPr>
          <a:xfrm>
            <a:off x="8169575" y="4802704"/>
            <a:ext cx="1713782" cy="1541961"/>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tx2"/>
                </a:solidFill>
              </a:rPr>
              <a:t>Attacks across networks, devices, and systems</a:t>
            </a:r>
          </a:p>
        </p:txBody>
      </p:sp>
      <p:grpSp>
        <p:nvGrpSpPr>
          <p:cNvPr id="142" name="Group 90"/>
          <p:cNvGrpSpPr/>
          <p:nvPr/>
        </p:nvGrpSpPr>
        <p:grpSpPr>
          <a:xfrm>
            <a:off x="5405401" y="4171416"/>
            <a:ext cx="2344173" cy="1285718"/>
            <a:chOff x="4733742" y="4467382"/>
            <a:chExt cx="2344173" cy="1285718"/>
          </a:xfrm>
        </p:grpSpPr>
        <p:grpSp>
          <p:nvGrpSpPr>
            <p:cNvPr id="113" name="Group 112"/>
            <p:cNvGrpSpPr/>
            <p:nvPr/>
          </p:nvGrpSpPr>
          <p:grpSpPr>
            <a:xfrm>
              <a:off x="4733742" y="5387477"/>
              <a:ext cx="2344173" cy="365623"/>
              <a:chOff x="4733742" y="5387477"/>
              <a:chExt cx="2344173" cy="365623"/>
            </a:xfrm>
            <a:solidFill>
              <a:schemeClr val="tx1">
                <a:lumMod val="60000"/>
                <a:lumOff val="40000"/>
              </a:schemeClr>
            </a:solidFill>
          </p:grpSpPr>
          <p:sp>
            <p:nvSpPr>
              <p:cNvPr id="95" name="Freeform 14"/>
              <p:cNvSpPr>
                <a:spLocks noEditPoints="1"/>
              </p:cNvSpPr>
              <p:nvPr/>
            </p:nvSpPr>
            <p:spPr bwMode="auto">
              <a:xfrm>
                <a:off x="4733742" y="5387477"/>
                <a:ext cx="439639" cy="365623"/>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96" name="Freeform 95"/>
              <p:cNvSpPr>
                <a:spLocks noEditPoints="1"/>
              </p:cNvSpPr>
              <p:nvPr/>
            </p:nvSpPr>
            <p:spPr bwMode="auto">
              <a:xfrm>
                <a:off x="5209875" y="5387477"/>
                <a:ext cx="439639" cy="365623"/>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97" name="Freeform 14"/>
              <p:cNvSpPr>
                <a:spLocks noEditPoints="1"/>
              </p:cNvSpPr>
              <p:nvPr/>
            </p:nvSpPr>
            <p:spPr bwMode="auto">
              <a:xfrm>
                <a:off x="5686008" y="5387477"/>
                <a:ext cx="439639" cy="365623"/>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98" name="Freeform 14"/>
              <p:cNvSpPr>
                <a:spLocks noEditPoints="1"/>
              </p:cNvSpPr>
              <p:nvPr/>
            </p:nvSpPr>
            <p:spPr bwMode="auto">
              <a:xfrm>
                <a:off x="6638276" y="5387477"/>
                <a:ext cx="439639" cy="365623"/>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99" name="Freeform 14"/>
              <p:cNvSpPr>
                <a:spLocks noEditPoints="1"/>
              </p:cNvSpPr>
              <p:nvPr/>
            </p:nvSpPr>
            <p:spPr bwMode="auto">
              <a:xfrm>
                <a:off x="6162141" y="5387477"/>
                <a:ext cx="439639" cy="365623"/>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grpSp>
        <p:cxnSp>
          <p:nvCxnSpPr>
            <p:cNvPr id="102" name="Straight Connector 101"/>
            <p:cNvCxnSpPr/>
            <p:nvPr/>
          </p:nvCxnSpPr>
          <p:spPr>
            <a:xfrm>
              <a:off x="4761874" y="5574922"/>
              <a:ext cx="2286000" cy="0"/>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7" name="Group 116"/>
            <p:cNvGrpSpPr/>
            <p:nvPr/>
          </p:nvGrpSpPr>
          <p:grpSpPr>
            <a:xfrm>
              <a:off x="4733742" y="4948661"/>
              <a:ext cx="2344173" cy="365623"/>
              <a:chOff x="4733742" y="5387477"/>
              <a:chExt cx="2344173" cy="365623"/>
            </a:xfrm>
            <a:solidFill>
              <a:schemeClr val="tx1">
                <a:lumMod val="60000"/>
                <a:lumOff val="40000"/>
              </a:schemeClr>
            </a:solidFill>
          </p:grpSpPr>
          <p:sp>
            <p:nvSpPr>
              <p:cNvPr id="119" name="Freeform 14"/>
              <p:cNvSpPr>
                <a:spLocks noEditPoints="1"/>
              </p:cNvSpPr>
              <p:nvPr/>
            </p:nvSpPr>
            <p:spPr bwMode="auto">
              <a:xfrm>
                <a:off x="4733742" y="5387477"/>
                <a:ext cx="439639" cy="365623"/>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20" name="Freeform 119"/>
              <p:cNvSpPr>
                <a:spLocks noEditPoints="1"/>
              </p:cNvSpPr>
              <p:nvPr/>
            </p:nvSpPr>
            <p:spPr bwMode="auto">
              <a:xfrm>
                <a:off x="5209875" y="5387477"/>
                <a:ext cx="439639" cy="365623"/>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21" name="Freeform 14"/>
              <p:cNvSpPr>
                <a:spLocks noEditPoints="1"/>
              </p:cNvSpPr>
              <p:nvPr/>
            </p:nvSpPr>
            <p:spPr bwMode="auto">
              <a:xfrm>
                <a:off x="5686008" y="5387477"/>
                <a:ext cx="439639" cy="365623"/>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22" name="Freeform 14"/>
              <p:cNvSpPr>
                <a:spLocks noEditPoints="1"/>
              </p:cNvSpPr>
              <p:nvPr/>
            </p:nvSpPr>
            <p:spPr bwMode="auto">
              <a:xfrm>
                <a:off x="6638276" y="5387477"/>
                <a:ext cx="439639" cy="365623"/>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23" name="Freeform 14"/>
              <p:cNvSpPr>
                <a:spLocks noEditPoints="1"/>
              </p:cNvSpPr>
              <p:nvPr/>
            </p:nvSpPr>
            <p:spPr bwMode="auto">
              <a:xfrm>
                <a:off x="6162141" y="5387477"/>
                <a:ext cx="439639" cy="365623"/>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grpSp>
        <p:cxnSp>
          <p:nvCxnSpPr>
            <p:cNvPr id="118" name="Straight Connector 117"/>
            <p:cNvCxnSpPr/>
            <p:nvPr/>
          </p:nvCxnSpPr>
          <p:spPr>
            <a:xfrm>
              <a:off x="4761874" y="5136106"/>
              <a:ext cx="2286000" cy="0"/>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5" name="Group 124"/>
            <p:cNvGrpSpPr/>
            <p:nvPr/>
          </p:nvGrpSpPr>
          <p:grpSpPr>
            <a:xfrm>
              <a:off x="4733742" y="4467382"/>
              <a:ext cx="2344173" cy="365623"/>
              <a:chOff x="4733742" y="5387477"/>
              <a:chExt cx="2344173" cy="365623"/>
            </a:xfrm>
            <a:solidFill>
              <a:schemeClr val="tx1">
                <a:lumMod val="60000"/>
                <a:lumOff val="40000"/>
              </a:schemeClr>
            </a:solidFill>
          </p:grpSpPr>
          <p:sp>
            <p:nvSpPr>
              <p:cNvPr id="127" name="Freeform 14"/>
              <p:cNvSpPr>
                <a:spLocks noEditPoints="1"/>
              </p:cNvSpPr>
              <p:nvPr/>
            </p:nvSpPr>
            <p:spPr bwMode="auto">
              <a:xfrm>
                <a:off x="4733742" y="5387477"/>
                <a:ext cx="439639" cy="365623"/>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28" name="Freeform 127"/>
              <p:cNvSpPr>
                <a:spLocks noEditPoints="1"/>
              </p:cNvSpPr>
              <p:nvPr/>
            </p:nvSpPr>
            <p:spPr bwMode="auto">
              <a:xfrm>
                <a:off x="5209875" y="5387477"/>
                <a:ext cx="439639" cy="365623"/>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29" name="Freeform 14"/>
              <p:cNvSpPr>
                <a:spLocks noEditPoints="1"/>
              </p:cNvSpPr>
              <p:nvPr/>
            </p:nvSpPr>
            <p:spPr bwMode="auto">
              <a:xfrm>
                <a:off x="5686008" y="5387477"/>
                <a:ext cx="439639" cy="365623"/>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30" name="Freeform 14"/>
              <p:cNvSpPr>
                <a:spLocks noEditPoints="1"/>
              </p:cNvSpPr>
              <p:nvPr/>
            </p:nvSpPr>
            <p:spPr bwMode="auto">
              <a:xfrm>
                <a:off x="6638276" y="5387477"/>
                <a:ext cx="439639" cy="365623"/>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31" name="Freeform 14"/>
              <p:cNvSpPr>
                <a:spLocks noEditPoints="1"/>
              </p:cNvSpPr>
              <p:nvPr/>
            </p:nvSpPr>
            <p:spPr bwMode="auto">
              <a:xfrm>
                <a:off x="6162141" y="5387477"/>
                <a:ext cx="439639" cy="365623"/>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grpSp>
        <p:cxnSp>
          <p:nvCxnSpPr>
            <p:cNvPr id="126" name="Straight Connector 125"/>
            <p:cNvCxnSpPr/>
            <p:nvPr/>
          </p:nvCxnSpPr>
          <p:spPr>
            <a:xfrm>
              <a:off x="4761874" y="4654827"/>
              <a:ext cx="2286000" cy="0"/>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flipV="1">
              <a:off x="4825159" y="4661876"/>
              <a:ext cx="2163057" cy="908412"/>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flipH="1" flipV="1">
              <a:off x="4825159" y="4647780"/>
              <a:ext cx="2127462" cy="929948"/>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3" name="TextBox 91"/>
          <p:cNvSpPr txBox="1"/>
          <p:nvPr/>
        </p:nvSpPr>
        <p:spPr>
          <a:xfrm>
            <a:off x="4372518" y="5550601"/>
            <a:ext cx="2714901" cy="794064"/>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tx2"/>
                </a:solidFill>
              </a:rPr>
              <a:t>Attacks target networks of computers</a:t>
            </a:r>
          </a:p>
        </p:txBody>
      </p:sp>
      <p:sp>
        <p:nvSpPr>
          <p:cNvPr id="83" name="Freeform 97"/>
          <p:cNvSpPr>
            <a:spLocks noChangeAspect="1" noEditPoints="1"/>
          </p:cNvSpPr>
          <p:nvPr/>
        </p:nvSpPr>
        <p:spPr bwMode="black">
          <a:xfrm>
            <a:off x="3661971" y="5788270"/>
            <a:ext cx="303618" cy="306781"/>
          </a:xfrm>
          <a:custGeom>
            <a:avLst/>
            <a:gdLst>
              <a:gd name="T0" fmla="*/ 0 w 96"/>
              <a:gd name="T1" fmla="*/ 0 h 97"/>
              <a:gd name="T2" fmla="*/ 0 w 96"/>
              <a:gd name="T3" fmla="*/ 97 h 97"/>
              <a:gd name="T4" fmla="*/ 24 w 96"/>
              <a:gd name="T5" fmla="*/ 97 h 97"/>
              <a:gd name="T6" fmla="*/ 24 w 96"/>
              <a:gd name="T7" fmla="*/ 69 h 97"/>
              <a:gd name="T8" fmla="*/ 73 w 96"/>
              <a:gd name="T9" fmla="*/ 69 h 97"/>
              <a:gd name="T10" fmla="*/ 73 w 96"/>
              <a:gd name="T11" fmla="*/ 97 h 97"/>
              <a:gd name="T12" fmla="*/ 96 w 96"/>
              <a:gd name="T13" fmla="*/ 97 h 97"/>
              <a:gd name="T14" fmla="*/ 96 w 96"/>
              <a:gd name="T15" fmla="*/ 0 h 97"/>
              <a:gd name="T16" fmla="*/ 0 w 96"/>
              <a:gd name="T17" fmla="*/ 0 h 97"/>
              <a:gd name="T18" fmla="*/ 80 w 96"/>
              <a:gd name="T19" fmla="*/ 41 h 97"/>
              <a:gd name="T20" fmla="*/ 14 w 96"/>
              <a:gd name="T21" fmla="*/ 41 h 97"/>
              <a:gd name="T22" fmla="*/ 14 w 96"/>
              <a:gd name="T23" fmla="*/ 5 h 97"/>
              <a:gd name="T24" fmla="*/ 80 w 96"/>
              <a:gd name="T25" fmla="*/ 5 h 97"/>
              <a:gd name="T26" fmla="*/ 80 w 96"/>
              <a:gd name="T27" fmla="*/ 41 h 97"/>
              <a:gd name="T28" fmla="*/ 34 w 96"/>
              <a:gd name="T29" fmla="*/ 76 h 97"/>
              <a:gd name="T30" fmla="*/ 50 w 96"/>
              <a:gd name="T31" fmla="*/ 76 h 97"/>
              <a:gd name="T32" fmla="*/ 50 w 96"/>
              <a:gd name="T33" fmla="*/ 97 h 97"/>
              <a:gd name="T34" fmla="*/ 34 w 96"/>
              <a:gd name="T35" fmla="*/ 97 h 97"/>
              <a:gd name="T36" fmla="*/ 34 w 96"/>
              <a:gd name="T37" fmla="*/ 7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97">
                <a:moveTo>
                  <a:pt x="0" y="0"/>
                </a:moveTo>
                <a:lnTo>
                  <a:pt x="0" y="97"/>
                </a:lnTo>
                <a:lnTo>
                  <a:pt x="24" y="97"/>
                </a:lnTo>
                <a:lnTo>
                  <a:pt x="24" y="69"/>
                </a:lnTo>
                <a:lnTo>
                  <a:pt x="73" y="69"/>
                </a:lnTo>
                <a:lnTo>
                  <a:pt x="73" y="97"/>
                </a:lnTo>
                <a:lnTo>
                  <a:pt x="96" y="97"/>
                </a:lnTo>
                <a:lnTo>
                  <a:pt x="96" y="0"/>
                </a:lnTo>
                <a:lnTo>
                  <a:pt x="0" y="0"/>
                </a:lnTo>
                <a:close/>
                <a:moveTo>
                  <a:pt x="80" y="41"/>
                </a:moveTo>
                <a:lnTo>
                  <a:pt x="14" y="41"/>
                </a:lnTo>
                <a:lnTo>
                  <a:pt x="14" y="5"/>
                </a:lnTo>
                <a:lnTo>
                  <a:pt x="80" y="5"/>
                </a:lnTo>
                <a:lnTo>
                  <a:pt x="80" y="41"/>
                </a:lnTo>
                <a:close/>
                <a:moveTo>
                  <a:pt x="34" y="76"/>
                </a:moveTo>
                <a:lnTo>
                  <a:pt x="50" y="76"/>
                </a:lnTo>
                <a:lnTo>
                  <a:pt x="50" y="97"/>
                </a:lnTo>
                <a:lnTo>
                  <a:pt x="34" y="97"/>
                </a:lnTo>
                <a:lnTo>
                  <a:pt x="34" y="76"/>
                </a:lnTo>
                <a:close/>
              </a:path>
            </a:pathLst>
          </a:custGeom>
          <a:solidFill>
            <a:schemeClr val="tx1">
              <a:lumMod val="60000"/>
              <a:lumOff val="40000"/>
            </a:schemeClr>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5" name="Group 4"/>
          <p:cNvGrpSpPr/>
          <p:nvPr/>
        </p:nvGrpSpPr>
        <p:grpSpPr>
          <a:xfrm>
            <a:off x="590550" y="1576133"/>
            <a:ext cx="11013220" cy="747970"/>
            <a:chOff x="590550" y="1576133"/>
            <a:chExt cx="11013220" cy="747970"/>
          </a:xfrm>
        </p:grpSpPr>
        <p:grpSp>
          <p:nvGrpSpPr>
            <p:cNvPr id="4" name="Group 3"/>
            <p:cNvGrpSpPr/>
            <p:nvPr/>
          </p:nvGrpSpPr>
          <p:grpSpPr>
            <a:xfrm>
              <a:off x="590550" y="1581150"/>
              <a:ext cx="11013220" cy="742953"/>
              <a:chOff x="590550" y="1581150"/>
              <a:chExt cx="11013220" cy="742953"/>
            </a:xfrm>
          </p:grpSpPr>
          <p:grpSp>
            <p:nvGrpSpPr>
              <p:cNvPr id="53" name="Group 2"/>
              <p:cNvGrpSpPr/>
              <p:nvPr/>
            </p:nvGrpSpPr>
            <p:grpSpPr>
              <a:xfrm>
                <a:off x="590550" y="1581150"/>
                <a:ext cx="11013220" cy="742950"/>
                <a:chOff x="590550" y="1581150"/>
                <a:chExt cx="11013220" cy="742950"/>
              </a:xfrm>
            </p:grpSpPr>
            <p:sp>
              <p:nvSpPr>
                <p:cNvPr id="16" name="Rectangle 15"/>
                <p:cNvSpPr/>
                <p:nvPr/>
              </p:nvSpPr>
              <p:spPr bwMode="auto">
                <a:xfrm>
                  <a:off x="590550" y="1581150"/>
                  <a:ext cx="3486150" cy="7429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System</a:t>
                  </a:r>
                </a:p>
              </p:txBody>
            </p:sp>
            <p:sp>
              <p:nvSpPr>
                <p:cNvPr id="17" name="Rectangle 16"/>
                <p:cNvSpPr/>
                <p:nvPr/>
              </p:nvSpPr>
              <p:spPr bwMode="auto">
                <a:xfrm>
                  <a:off x="4354085" y="1581150"/>
                  <a:ext cx="3486150" cy="7429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Network</a:t>
                  </a:r>
                </a:p>
              </p:txBody>
            </p:sp>
            <p:sp>
              <p:nvSpPr>
                <p:cNvPr id="18" name="Rectangle 17"/>
                <p:cNvSpPr/>
                <p:nvPr/>
              </p:nvSpPr>
              <p:spPr bwMode="auto">
                <a:xfrm>
                  <a:off x="8117620" y="1581150"/>
                  <a:ext cx="3486150" cy="74295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System of Systems</a:t>
                  </a:r>
                </a:p>
              </p:txBody>
            </p:sp>
          </p:grpSp>
          <p:sp>
            <p:nvSpPr>
              <p:cNvPr id="3" name="Isosceles Triangle 2"/>
              <p:cNvSpPr/>
              <p:nvPr/>
            </p:nvSpPr>
            <p:spPr bwMode="auto">
              <a:xfrm rot="5400000">
                <a:off x="3821886" y="1826431"/>
                <a:ext cx="742951" cy="252393"/>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85" name="Isosceles Triangle 84"/>
            <p:cNvSpPr/>
            <p:nvPr/>
          </p:nvSpPr>
          <p:spPr bwMode="auto">
            <a:xfrm rot="5400000">
              <a:off x="7596105" y="1821412"/>
              <a:ext cx="742951" cy="252393"/>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7046804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495300" y="1246715"/>
            <a:ext cx="2171700" cy="127381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95300" y="2591010"/>
            <a:ext cx="2171700" cy="127381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p:nvSpPr>
        <p:spPr bwMode="auto">
          <a:xfrm>
            <a:off x="495300" y="3935305"/>
            <a:ext cx="2171700" cy="127381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495300" y="5279600"/>
            <a:ext cx="2171700" cy="127381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bwMode="auto">
          <a:xfrm>
            <a:off x="2714868" y="1246715"/>
            <a:ext cx="9477132" cy="127381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2714868" y="2591010"/>
            <a:ext cx="9477132" cy="127381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2714868" y="3935305"/>
            <a:ext cx="9477132" cy="127381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p:nvSpPr>
        <p:spPr bwMode="auto">
          <a:xfrm>
            <a:off x="2714868" y="5279600"/>
            <a:ext cx="9477132" cy="127381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0" y="270850"/>
            <a:ext cx="11655840" cy="899665"/>
          </a:xfrm>
        </p:spPr>
        <p:txBody>
          <a:bodyPr/>
          <a:lstStyle/>
          <a:p>
            <a:r>
              <a:rPr lang="en-US" sz="4800" dirty="0"/>
              <a:t>Types of Attack Vectors</a:t>
            </a:r>
          </a:p>
        </p:txBody>
      </p:sp>
      <p:sp>
        <p:nvSpPr>
          <p:cNvPr id="16" name="Freeform 46"/>
          <p:cNvSpPr>
            <a:spLocks noEditPoints="1"/>
          </p:cNvSpPr>
          <p:nvPr/>
        </p:nvSpPr>
        <p:spPr bwMode="auto">
          <a:xfrm>
            <a:off x="7410450" y="524470"/>
            <a:ext cx="6557971" cy="4847630"/>
          </a:xfrm>
          <a:custGeom>
            <a:avLst/>
            <a:gdLst>
              <a:gd name="T0" fmla="*/ 166 w 1209"/>
              <a:gd name="T1" fmla="*/ 697 h 870"/>
              <a:gd name="T2" fmla="*/ 170 w 1209"/>
              <a:gd name="T3" fmla="*/ 523 h 870"/>
              <a:gd name="T4" fmla="*/ 726 w 1209"/>
              <a:gd name="T5" fmla="*/ 493 h 870"/>
              <a:gd name="T6" fmla="*/ 610 w 1209"/>
              <a:gd name="T7" fmla="*/ 457 h 870"/>
              <a:gd name="T8" fmla="*/ 509 w 1209"/>
              <a:gd name="T9" fmla="*/ 445 h 870"/>
              <a:gd name="T10" fmla="*/ 504 w 1209"/>
              <a:gd name="T11" fmla="*/ 356 h 870"/>
              <a:gd name="T12" fmla="*/ 561 w 1209"/>
              <a:gd name="T13" fmla="*/ 352 h 870"/>
              <a:gd name="T14" fmla="*/ 570 w 1209"/>
              <a:gd name="T15" fmla="*/ 287 h 870"/>
              <a:gd name="T16" fmla="*/ 594 w 1209"/>
              <a:gd name="T17" fmla="*/ 250 h 870"/>
              <a:gd name="T18" fmla="*/ 550 w 1209"/>
              <a:gd name="T19" fmla="*/ 198 h 870"/>
              <a:gd name="T20" fmla="*/ 479 w 1209"/>
              <a:gd name="T21" fmla="*/ 173 h 870"/>
              <a:gd name="T22" fmla="*/ 374 w 1209"/>
              <a:gd name="T23" fmla="*/ 117 h 870"/>
              <a:gd name="T24" fmla="*/ 335 w 1209"/>
              <a:gd name="T25" fmla="*/ 251 h 870"/>
              <a:gd name="T26" fmla="*/ 418 w 1209"/>
              <a:gd name="T27" fmla="*/ 362 h 870"/>
              <a:gd name="T28" fmla="*/ 472 w 1209"/>
              <a:gd name="T29" fmla="*/ 456 h 870"/>
              <a:gd name="T30" fmla="*/ 563 w 1209"/>
              <a:gd name="T31" fmla="*/ 541 h 870"/>
              <a:gd name="T32" fmla="*/ 410 w 1209"/>
              <a:gd name="T33" fmla="*/ 526 h 870"/>
              <a:gd name="T34" fmla="*/ 229 w 1209"/>
              <a:gd name="T35" fmla="*/ 530 h 870"/>
              <a:gd name="T36" fmla="*/ 599 w 1209"/>
              <a:gd name="T37" fmla="*/ 122 h 870"/>
              <a:gd name="T38" fmla="*/ 683 w 1209"/>
              <a:gd name="T39" fmla="*/ 167 h 870"/>
              <a:gd name="T40" fmla="*/ 723 w 1209"/>
              <a:gd name="T41" fmla="*/ 94 h 870"/>
              <a:gd name="T42" fmla="*/ 605 w 1209"/>
              <a:gd name="T43" fmla="*/ 75 h 870"/>
              <a:gd name="T44" fmla="*/ 717 w 1209"/>
              <a:gd name="T45" fmla="*/ 694 h 870"/>
              <a:gd name="T46" fmla="*/ 678 w 1209"/>
              <a:gd name="T47" fmla="*/ 770 h 870"/>
              <a:gd name="T48" fmla="*/ 577 w 1209"/>
              <a:gd name="T49" fmla="*/ 729 h 870"/>
              <a:gd name="T50" fmla="*/ 371 w 1209"/>
              <a:gd name="T51" fmla="*/ 807 h 870"/>
              <a:gd name="T52" fmla="*/ 132 w 1209"/>
              <a:gd name="T53" fmla="*/ 653 h 870"/>
              <a:gd name="T54" fmla="*/ 104 w 1209"/>
              <a:gd name="T55" fmla="*/ 647 h 870"/>
              <a:gd name="T56" fmla="*/ 82 w 1209"/>
              <a:gd name="T57" fmla="*/ 638 h 870"/>
              <a:gd name="T58" fmla="*/ 68 w 1209"/>
              <a:gd name="T59" fmla="*/ 626 h 870"/>
              <a:gd name="T60" fmla="*/ 61 w 1209"/>
              <a:gd name="T61" fmla="*/ 614 h 870"/>
              <a:gd name="T62" fmla="*/ 61 w 1209"/>
              <a:gd name="T63" fmla="*/ 602 h 870"/>
              <a:gd name="T64" fmla="*/ 64 w 1209"/>
              <a:gd name="T65" fmla="*/ 589 h 870"/>
              <a:gd name="T66" fmla="*/ 72 w 1209"/>
              <a:gd name="T67" fmla="*/ 571 h 870"/>
              <a:gd name="T68" fmla="*/ 85 w 1209"/>
              <a:gd name="T69" fmla="*/ 551 h 870"/>
              <a:gd name="T70" fmla="*/ 137 w 1209"/>
              <a:gd name="T71" fmla="*/ 495 h 870"/>
              <a:gd name="T72" fmla="*/ 61 w 1209"/>
              <a:gd name="T73" fmla="*/ 486 h 870"/>
              <a:gd name="T74" fmla="*/ 42 w 1209"/>
              <a:gd name="T75" fmla="*/ 508 h 870"/>
              <a:gd name="T76" fmla="*/ 26 w 1209"/>
              <a:gd name="T77" fmla="*/ 530 h 870"/>
              <a:gd name="T78" fmla="*/ 15 w 1209"/>
              <a:gd name="T79" fmla="*/ 550 h 870"/>
              <a:gd name="T80" fmla="*/ 7 w 1209"/>
              <a:gd name="T81" fmla="*/ 570 h 870"/>
              <a:gd name="T82" fmla="*/ 2 w 1209"/>
              <a:gd name="T83" fmla="*/ 590 h 870"/>
              <a:gd name="T84" fmla="*/ 0 w 1209"/>
              <a:gd name="T85" fmla="*/ 609 h 870"/>
              <a:gd name="T86" fmla="*/ 3 w 1209"/>
              <a:gd name="T87" fmla="*/ 627 h 870"/>
              <a:gd name="T88" fmla="*/ 143 w 1209"/>
              <a:gd name="T89" fmla="*/ 705 h 870"/>
              <a:gd name="T90" fmla="*/ 1181 w 1209"/>
              <a:gd name="T91" fmla="*/ 176 h 870"/>
              <a:gd name="T92" fmla="*/ 1175 w 1209"/>
              <a:gd name="T93" fmla="*/ 167 h 870"/>
              <a:gd name="T94" fmla="*/ 1166 w 1209"/>
              <a:gd name="T95" fmla="*/ 156 h 870"/>
              <a:gd name="T96" fmla="*/ 1137 w 1209"/>
              <a:gd name="T97" fmla="*/ 134 h 870"/>
              <a:gd name="T98" fmla="*/ 995 w 1209"/>
              <a:gd name="T99" fmla="*/ 167 h 870"/>
              <a:gd name="T100" fmla="*/ 1117 w 1209"/>
              <a:gd name="T101" fmla="*/ 192 h 870"/>
              <a:gd name="T102" fmla="*/ 1127 w 1209"/>
              <a:gd name="T103" fmla="*/ 202 h 870"/>
              <a:gd name="T104" fmla="*/ 1131 w 1209"/>
              <a:gd name="T105" fmla="*/ 212 h 870"/>
              <a:gd name="T106" fmla="*/ 1131 w 1209"/>
              <a:gd name="T107" fmla="*/ 220 h 870"/>
              <a:gd name="T108" fmla="*/ 1130 w 1209"/>
              <a:gd name="T109" fmla="*/ 229 h 870"/>
              <a:gd name="T110" fmla="*/ 1126 w 1209"/>
              <a:gd name="T111" fmla="*/ 241 h 870"/>
              <a:gd name="T112" fmla="*/ 1121 w 1209"/>
              <a:gd name="T113" fmla="*/ 253 h 870"/>
              <a:gd name="T114" fmla="*/ 1096 w 1209"/>
              <a:gd name="T115" fmla="*/ 287 h 870"/>
              <a:gd name="T116" fmla="*/ 1048 w 1209"/>
              <a:gd name="T117" fmla="*/ 336 h 870"/>
              <a:gd name="T118" fmla="*/ 1058 w 1209"/>
              <a:gd name="T119" fmla="*/ 405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9" h="870">
                <a:moveTo>
                  <a:pt x="1058" y="111"/>
                </a:moveTo>
                <a:cubicBezTo>
                  <a:pt x="1058" y="111"/>
                  <a:pt x="1058" y="111"/>
                  <a:pt x="1058" y="111"/>
                </a:cubicBezTo>
                <a:moveTo>
                  <a:pt x="419" y="548"/>
                </a:moveTo>
                <a:cubicBezTo>
                  <a:pt x="419" y="548"/>
                  <a:pt x="446" y="628"/>
                  <a:pt x="421" y="697"/>
                </a:cubicBezTo>
                <a:cubicBezTo>
                  <a:pt x="396" y="767"/>
                  <a:pt x="313" y="828"/>
                  <a:pt x="294" y="828"/>
                </a:cubicBezTo>
                <a:cubicBezTo>
                  <a:pt x="274" y="828"/>
                  <a:pt x="191" y="767"/>
                  <a:pt x="166" y="697"/>
                </a:cubicBezTo>
                <a:cubicBezTo>
                  <a:pt x="141" y="628"/>
                  <a:pt x="168" y="548"/>
                  <a:pt x="168" y="548"/>
                </a:cubicBezTo>
                <a:cubicBezTo>
                  <a:pt x="168" y="548"/>
                  <a:pt x="201" y="562"/>
                  <a:pt x="235" y="553"/>
                </a:cubicBezTo>
                <a:cubicBezTo>
                  <a:pt x="268" y="545"/>
                  <a:pt x="294" y="522"/>
                  <a:pt x="294" y="522"/>
                </a:cubicBezTo>
                <a:cubicBezTo>
                  <a:pt x="294" y="522"/>
                  <a:pt x="319" y="545"/>
                  <a:pt x="352" y="553"/>
                </a:cubicBezTo>
                <a:cubicBezTo>
                  <a:pt x="386" y="562"/>
                  <a:pt x="419" y="548"/>
                  <a:pt x="419" y="548"/>
                </a:cubicBezTo>
                <a:close/>
                <a:moveTo>
                  <a:pt x="170" y="523"/>
                </a:moveTo>
                <a:cubicBezTo>
                  <a:pt x="164" y="495"/>
                  <a:pt x="161" y="465"/>
                  <a:pt x="161" y="435"/>
                </a:cubicBezTo>
                <a:cubicBezTo>
                  <a:pt x="161" y="195"/>
                  <a:pt x="356" y="0"/>
                  <a:pt x="596" y="0"/>
                </a:cubicBezTo>
                <a:cubicBezTo>
                  <a:pt x="801" y="0"/>
                  <a:pt x="973" y="143"/>
                  <a:pt x="1019" y="334"/>
                </a:cubicBezTo>
                <a:cubicBezTo>
                  <a:pt x="1016" y="337"/>
                  <a:pt x="1012" y="339"/>
                  <a:pt x="1009" y="342"/>
                </a:cubicBezTo>
                <a:cubicBezTo>
                  <a:pt x="939" y="397"/>
                  <a:pt x="844" y="452"/>
                  <a:pt x="736" y="499"/>
                </a:cubicBezTo>
                <a:cubicBezTo>
                  <a:pt x="732" y="497"/>
                  <a:pt x="729" y="495"/>
                  <a:pt x="726" y="493"/>
                </a:cubicBezTo>
                <a:cubicBezTo>
                  <a:pt x="717" y="484"/>
                  <a:pt x="704" y="474"/>
                  <a:pt x="696" y="470"/>
                </a:cubicBezTo>
                <a:cubicBezTo>
                  <a:pt x="688" y="467"/>
                  <a:pt x="682" y="461"/>
                  <a:pt x="682" y="457"/>
                </a:cubicBezTo>
                <a:cubicBezTo>
                  <a:pt x="682" y="457"/>
                  <a:pt x="682" y="457"/>
                  <a:pt x="676" y="454"/>
                </a:cubicBezTo>
                <a:cubicBezTo>
                  <a:pt x="671" y="451"/>
                  <a:pt x="671" y="451"/>
                  <a:pt x="671" y="451"/>
                </a:cubicBezTo>
                <a:cubicBezTo>
                  <a:pt x="665" y="449"/>
                  <a:pt x="653" y="448"/>
                  <a:pt x="644" y="448"/>
                </a:cubicBezTo>
                <a:cubicBezTo>
                  <a:pt x="636" y="448"/>
                  <a:pt x="620" y="452"/>
                  <a:pt x="610" y="457"/>
                </a:cubicBezTo>
                <a:cubicBezTo>
                  <a:pt x="599" y="461"/>
                  <a:pt x="586" y="464"/>
                  <a:pt x="582" y="464"/>
                </a:cubicBezTo>
                <a:cubicBezTo>
                  <a:pt x="578" y="464"/>
                  <a:pt x="568" y="464"/>
                  <a:pt x="560" y="464"/>
                </a:cubicBezTo>
                <a:cubicBezTo>
                  <a:pt x="560" y="464"/>
                  <a:pt x="560" y="464"/>
                  <a:pt x="550" y="464"/>
                </a:cubicBezTo>
                <a:cubicBezTo>
                  <a:pt x="541" y="464"/>
                  <a:pt x="541" y="464"/>
                  <a:pt x="541" y="464"/>
                </a:cubicBezTo>
                <a:cubicBezTo>
                  <a:pt x="532" y="464"/>
                  <a:pt x="520" y="457"/>
                  <a:pt x="515" y="447"/>
                </a:cubicBezTo>
                <a:cubicBezTo>
                  <a:pt x="515" y="447"/>
                  <a:pt x="515" y="447"/>
                  <a:pt x="509" y="445"/>
                </a:cubicBezTo>
                <a:cubicBezTo>
                  <a:pt x="503" y="444"/>
                  <a:pt x="503" y="444"/>
                  <a:pt x="503" y="444"/>
                </a:cubicBezTo>
                <a:cubicBezTo>
                  <a:pt x="491" y="438"/>
                  <a:pt x="483" y="428"/>
                  <a:pt x="485" y="422"/>
                </a:cubicBezTo>
                <a:cubicBezTo>
                  <a:pt x="488" y="416"/>
                  <a:pt x="489" y="407"/>
                  <a:pt x="488" y="403"/>
                </a:cubicBezTo>
                <a:cubicBezTo>
                  <a:pt x="487" y="399"/>
                  <a:pt x="488" y="391"/>
                  <a:pt x="489" y="386"/>
                </a:cubicBezTo>
                <a:cubicBezTo>
                  <a:pt x="491" y="381"/>
                  <a:pt x="492" y="373"/>
                  <a:pt x="493" y="367"/>
                </a:cubicBezTo>
                <a:cubicBezTo>
                  <a:pt x="493" y="362"/>
                  <a:pt x="499" y="357"/>
                  <a:pt x="504" y="356"/>
                </a:cubicBezTo>
                <a:cubicBezTo>
                  <a:pt x="510" y="355"/>
                  <a:pt x="519" y="354"/>
                  <a:pt x="524" y="354"/>
                </a:cubicBezTo>
                <a:cubicBezTo>
                  <a:pt x="529" y="354"/>
                  <a:pt x="534" y="358"/>
                  <a:pt x="535" y="362"/>
                </a:cubicBezTo>
                <a:cubicBezTo>
                  <a:pt x="536" y="366"/>
                  <a:pt x="539" y="370"/>
                  <a:pt x="541" y="370"/>
                </a:cubicBezTo>
                <a:cubicBezTo>
                  <a:pt x="543" y="370"/>
                  <a:pt x="547" y="370"/>
                  <a:pt x="549" y="370"/>
                </a:cubicBezTo>
                <a:cubicBezTo>
                  <a:pt x="552" y="370"/>
                  <a:pt x="557" y="366"/>
                  <a:pt x="560" y="362"/>
                </a:cubicBezTo>
                <a:cubicBezTo>
                  <a:pt x="563" y="358"/>
                  <a:pt x="563" y="353"/>
                  <a:pt x="561" y="352"/>
                </a:cubicBezTo>
                <a:cubicBezTo>
                  <a:pt x="558" y="350"/>
                  <a:pt x="554" y="346"/>
                  <a:pt x="551" y="342"/>
                </a:cubicBezTo>
                <a:cubicBezTo>
                  <a:pt x="549" y="339"/>
                  <a:pt x="547" y="334"/>
                  <a:pt x="548" y="332"/>
                </a:cubicBezTo>
                <a:cubicBezTo>
                  <a:pt x="548" y="332"/>
                  <a:pt x="548" y="332"/>
                  <a:pt x="548" y="327"/>
                </a:cubicBezTo>
                <a:cubicBezTo>
                  <a:pt x="548" y="322"/>
                  <a:pt x="548" y="322"/>
                  <a:pt x="548" y="322"/>
                </a:cubicBezTo>
                <a:cubicBezTo>
                  <a:pt x="558" y="313"/>
                  <a:pt x="565" y="304"/>
                  <a:pt x="565" y="302"/>
                </a:cubicBezTo>
                <a:cubicBezTo>
                  <a:pt x="565" y="300"/>
                  <a:pt x="567" y="293"/>
                  <a:pt x="570" y="287"/>
                </a:cubicBezTo>
                <a:cubicBezTo>
                  <a:pt x="573" y="281"/>
                  <a:pt x="567" y="275"/>
                  <a:pt x="558" y="274"/>
                </a:cubicBezTo>
                <a:cubicBezTo>
                  <a:pt x="558" y="274"/>
                  <a:pt x="558" y="274"/>
                  <a:pt x="584" y="274"/>
                </a:cubicBezTo>
                <a:cubicBezTo>
                  <a:pt x="611" y="274"/>
                  <a:pt x="611" y="274"/>
                  <a:pt x="611" y="274"/>
                </a:cubicBezTo>
                <a:cubicBezTo>
                  <a:pt x="617" y="271"/>
                  <a:pt x="623" y="267"/>
                  <a:pt x="625" y="264"/>
                </a:cubicBezTo>
                <a:cubicBezTo>
                  <a:pt x="626" y="262"/>
                  <a:pt x="623" y="259"/>
                  <a:pt x="617" y="257"/>
                </a:cubicBezTo>
                <a:cubicBezTo>
                  <a:pt x="611" y="256"/>
                  <a:pt x="601" y="253"/>
                  <a:pt x="594" y="250"/>
                </a:cubicBezTo>
                <a:cubicBezTo>
                  <a:pt x="586" y="247"/>
                  <a:pt x="581" y="240"/>
                  <a:pt x="581" y="235"/>
                </a:cubicBezTo>
                <a:cubicBezTo>
                  <a:pt x="582" y="230"/>
                  <a:pt x="581" y="220"/>
                  <a:pt x="580" y="213"/>
                </a:cubicBezTo>
                <a:cubicBezTo>
                  <a:pt x="579" y="206"/>
                  <a:pt x="576" y="201"/>
                  <a:pt x="572" y="203"/>
                </a:cubicBezTo>
                <a:cubicBezTo>
                  <a:pt x="568" y="204"/>
                  <a:pt x="559" y="207"/>
                  <a:pt x="550" y="209"/>
                </a:cubicBezTo>
                <a:cubicBezTo>
                  <a:pt x="550" y="209"/>
                  <a:pt x="550" y="209"/>
                  <a:pt x="550" y="203"/>
                </a:cubicBezTo>
                <a:cubicBezTo>
                  <a:pt x="550" y="198"/>
                  <a:pt x="550" y="198"/>
                  <a:pt x="550" y="198"/>
                </a:cubicBezTo>
                <a:cubicBezTo>
                  <a:pt x="559" y="192"/>
                  <a:pt x="565" y="183"/>
                  <a:pt x="565" y="179"/>
                </a:cubicBezTo>
                <a:cubicBezTo>
                  <a:pt x="565" y="176"/>
                  <a:pt x="559" y="173"/>
                  <a:pt x="551" y="173"/>
                </a:cubicBezTo>
                <a:cubicBezTo>
                  <a:pt x="544" y="173"/>
                  <a:pt x="530" y="175"/>
                  <a:pt x="521" y="179"/>
                </a:cubicBezTo>
                <a:cubicBezTo>
                  <a:pt x="512" y="182"/>
                  <a:pt x="500" y="185"/>
                  <a:pt x="495" y="185"/>
                </a:cubicBezTo>
                <a:cubicBezTo>
                  <a:pt x="489" y="185"/>
                  <a:pt x="484" y="179"/>
                  <a:pt x="484" y="173"/>
                </a:cubicBezTo>
                <a:cubicBezTo>
                  <a:pt x="484" y="173"/>
                  <a:pt x="484" y="173"/>
                  <a:pt x="479" y="173"/>
                </a:cubicBezTo>
                <a:cubicBezTo>
                  <a:pt x="473" y="173"/>
                  <a:pt x="473" y="173"/>
                  <a:pt x="473" y="173"/>
                </a:cubicBezTo>
                <a:cubicBezTo>
                  <a:pt x="473" y="164"/>
                  <a:pt x="476" y="149"/>
                  <a:pt x="479" y="140"/>
                </a:cubicBezTo>
                <a:cubicBezTo>
                  <a:pt x="482" y="130"/>
                  <a:pt x="482" y="114"/>
                  <a:pt x="479" y="104"/>
                </a:cubicBezTo>
                <a:cubicBezTo>
                  <a:pt x="476" y="93"/>
                  <a:pt x="462" y="87"/>
                  <a:pt x="448" y="89"/>
                </a:cubicBezTo>
                <a:cubicBezTo>
                  <a:pt x="434" y="92"/>
                  <a:pt x="412" y="98"/>
                  <a:pt x="400" y="104"/>
                </a:cubicBezTo>
                <a:cubicBezTo>
                  <a:pt x="394" y="107"/>
                  <a:pt x="385" y="111"/>
                  <a:pt x="374" y="117"/>
                </a:cubicBezTo>
                <a:cubicBezTo>
                  <a:pt x="346" y="136"/>
                  <a:pt x="320" y="159"/>
                  <a:pt x="298" y="186"/>
                </a:cubicBezTo>
                <a:cubicBezTo>
                  <a:pt x="299" y="186"/>
                  <a:pt x="300" y="186"/>
                  <a:pt x="301" y="186"/>
                </a:cubicBezTo>
                <a:cubicBezTo>
                  <a:pt x="306" y="186"/>
                  <a:pt x="317" y="188"/>
                  <a:pt x="326" y="191"/>
                </a:cubicBezTo>
                <a:cubicBezTo>
                  <a:pt x="336" y="193"/>
                  <a:pt x="343" y="198"/>
                  <a:pt x="343" y="203"/>
                </a:cubicBezTo>
                <a:cubicBezTo>
                  <a:pt x="343" y="207"/>
                  <a:pt x="343" y="217"/>
                  <a:pt x="343" y="225"/>
                </a:cubicBezTo>
                <a:cubicBezTo>
                  <a:pt x="343" y="233"/>
                  <a:pt x="340" y="245"/>
                  <a:pt x="335" y="251"/>
                </a:cubicBezTo>
                <a:cubicBezTo>
                  <a:pt x="330" y="258"/>
                  <a:pt x="330" y="269"/>
                  <a:pt x="335" y="275"/>
                </a:cubicBezTo>
                <a:cubicBezTo>
                  <a:pt x="340" y="281"/>
                  <a:pt x="343" y="293"/>
                  <a:pt x="343" y="302"/>
                </a:cubicBezTo>
                <a:cubicBezTo>
                  <a:pt x="343" y="311"/>
                  <a:pt x="348" y="324"/>
                  <a:pt x="354" y="330"/>
                </a:cubicBezTo>
                <a:cubicBezTo>
                  <a:pt x="359" y="337"/>
                  <a:pt x="370" y="345"/>
                  <a:pt x="377" y="348"/>
                </a:cubicBezTo>
                <a:cubicBezTo>
                  <a:pt x="384" y="352"/>
                  <a:pt x="395" y="354"/>
                  <a:pt x="401" y="354"/>
                </a:cubicBezTo>
                <a:cubicBezTo>
                  <a:pt x="406" y="354"/>
                  <a:pt x="414" y="358"/>
                  <a:pt x="418" y="362"/>
                </a:cubicBezTo>
                <a:cubicBezTo>
                  <a:pt x="421" y="366"/>
                  <a:pt x="424" y="376"/>
                  <a:pt x="424" y="383"/>
                </a:cubicBezTo>
                <a:cubicBezTo>
                  <a:pt x="424" y="390"/>
                  <a:pt x="426" y="401"/>
                  <a:pt x="429" y="408"/>
                </a:cubicBezTo>
                <a:cubicBezTo>
                  <a:pt x="432" y="414"/>
                  <a:pt x="434" y="422"/>
                  <a:pt x="434" y="424"/>
                </a:cubicBezTo>
                <a:cubicBezTo>
                  <a:pt x="434" y="426"/>
                  <a:pt x="437" y="432"/>
                  <a:pt x="442" y="437"/>
                </a:cubicBezTo>
                <a:cubicBezTo>
                  <a:pt x="447" y="442"/>
                  <a:pt x="452" y="445"/>
                  <a:pt x="454" y="445"/>
                </a:cubicBezTo>
                <a:cubicBezTo>
                  <a:pt x="456" y="445"/>
                  <a:pt x="464" y="450"/>
                  <a:pt x="472" y="456"/>
                </a:cubicBezTo>
                <a:cubicBezTo>
                  <a:pt x="480" y="461"/>
                  <a:pt x="488" y="470"/>
                  <a:pt x="491" y="475"/>
                </a:cubicBezTo>
                <a:cubicBezTo>
                  <a:pt x="494" y="479"/>
                  <a:pt x="499" y="483"/>
                  <a:pt x="503" y="483"/>
                </a:cubicBezTo>
                <a:cubicBezTo>
                  <a:pt x="507" y="483"/>
                  <a:pt x="515" y="486"/>
                  <a:pt x="519" y="490"/>
                </a:cubicBezTo>
                <a:cubicBezTo>
                  <a:pt x="524" y="494"/>
                  <a:pt x="536" y="497"/>
                  <a:pt x="546" y="497"/>
                </a:cubicBezTo>
                <a:cubicBezTo>
                  <a:pt x="555" y="497"/>
                  <a:pt x="563" y="504"/>
                  <a:pt x="563" y="513"/>
                </a:cubicBezTo>
                <a:cubicBezTo>
                  <a:pt x="563" y="522"/>
                  <a:pt x="563" y="535"/>
                  <a:pt x="563" y="541"/>
                </a:cubicBezTo>
                <a:cubicBezTo>
                  <a:pt x="563" y="547"/>
                  <a:pt x="563" y="557"/>
                  <a:pt x="563" y="564"/>
                </a:cubicBezTo>
                <a:cubicBezTo>
                  <a:pt x="563" y="565"/>
                  <a:pt x="564" y="566"/>
                  <a:pt x="564" y="566"/>
                </a:cubicBezTo>
                <a:cubicBezTo>
                  <a:pt x="526" y="579"/>
                  <a:pt x="490" y="590"/>
                  <a:pt x="454" y="599"/>
                </a:cubicBezTo>
                <a:cubicBezTo>
                  <a:pt x="451" y="566"/>
                  <a:pt x="443" y="542"/>
                  <a:pt x="442" y="540"/>
                </a:cubicBezTo>
                <a:cubicBezTo>
                  <a:pt x="434" y="516"/>
                  <a:pt x="434" y="516"/>
                  <a:pt x="434" y="516"/>
                </a:cubicBezTo>
                <a:cubicBezTo>
                  <a:pt x="410" y="526"/>
                  <a:pt x="410" y="526"/>
                  <a:pt x="410" y="526"/>
                </a:cubicBezTo>
                <a:cubicBezTo>
                  <a:pt x="410" y="526"/>
                  <a:pt x="394" y="532"/>
                  <a:pt x="376" y="532"/>
                </a:cubicBezTo>
                <a:cubicBezTo>
                  <a:pt x="370" y="532"/>
                  <a:pt x="364" y="532"/>
                  <a:pt x="358" y="530"/>
                </a:cubicBezTo>
                <a:cubicBezTo>
                  <a:pt x="331" y="523"/>
                  <a:pt x="310" y="504"/>
                  <a:pt x="309" y="504"/>
                </a:cubicBezTo>
                <a:cubicBezTo>
                  <a:pt x="294" y="490"/>
                  <a:pt x="294" y="490"/>
                  <a:pt x="294" y="490"/>
                </a:cubicBezTo>
                <a:cubicBezTo>
                  <a:pt x="278" y="504"/>
                  <a:pt x="278" y="504"/>
                  <a:pt x="278" y="504"/>
                </a:cubicBezTo>
                <a:cubicBezTo>
                  <a:pt x="278" y="504"/>
                  <a:pt x="256" y="523"/>
                  <a:pt x="229" y="530"/>
                </a:cubicBezTo>
                <a:cubicBezTo>
                  <a:pt x="223" y="532"/>
                  <a:pt x="218" y="532"/>
                  <a:pt x="211" y="532"/>
                </a:cubicBezTo>
                <a:cubicBezTo>
                  <a:pt x="193" y="532"/>
                  <a:pt x="177" y="526"/>
                  <a:pt x="177" y="526"/>
                </a:cubicBezTo>
                <a:lnTo>
                  <a:pt x="170" y="523"/>
                </a:lnTo>
                <a:close/>
                <a:moveTo>
                  <a:pt x="586" y="111"/>
                </a:moveTo>
                <a:cubicBezTo>
                  <a:pt x="586" y="111"/>
                  <a:pt x="586" y="111"/>
                  <a:pt x="590" y="114"/>
                </a:cubicBezTo>
                <a:cubicBezTo>
                  <a:pt x="594" y="118"/>
                  <a:pt x="596" y="120"/>
                  <a:pt x="599" y="122"/>
                </a:cubicBezTo>
                <a:cubicBezTo>
                  <a:pt x="602" y="124"/>
                  <a:pt x="608" y="129"/>
                  <a:pt x="611" y="131"/>
                </a:cubicBezTo>
                <a:cubicBezTo>
                  <a:pt x="615" y="134"/>
                  <a:pt x="623" y="141"/>
                  <a:pt x="629" y="147"/>
                </a:cubicBezTo>
                <a:cubicBezTo>
                  <a:pt x="636" y="152"/>
                  <a:pt x="646" y="155"/>
                  <a:pt x="653" y="153"/>
                </a:cubicBezTo>
                <a:cubicBezTo>
                  <a:pt x="660" y="150"/>
                  <a:pt x="665" y="153"/>
                  <a:pt x="665" y="158"/>
                </a:cubicBezTo>
                <a:cubicBezTo>
                  <a:pt x="665" y="163"/>
                  <a:pt x="668" y="167"/>
                  <a:pt x="672" y="167"/>
                </a:cubicBezTo>
                <a:cubicBezTo>
                  <a:pt x="675" y="167"/>
                  <a:pt x="680" y="167"/>
                  <a:pt x="683" y="167"/>
                </a:cubicBezTo>
                <a:cubicBezTo>
                  <a:pt x="686" y="167"/>
                  <a:pt x="688" y="165"/>
                  <a:pt x="688" y="163"/>
                </a:cubicBezTo>
                <a:cubicBezTo>
                  <a:pt x="688" y="161"/>
                  <a:pt x="701" y="155"/>
                  <a:pt x="717" y="150"/>
                </a:cubicBezTo>
                <a:cubicBezTo>
                  <a:pt x="733" y="146"/>
                  <a:pt x="744" y="139"/>
                  <a:pt x="742" y="137"/>
                </a:cubicBezTo>
                <a:cubicBezTo>
                  <a:pt x="742" y="137"/>
                  <a:pt x="742" y="137"/>
                  <a:pt x="737" y="126"/>
                </a:cubicBezTo>
                <a:cubicBezTo>
                  <a:pt x="731" y="116"/>
                  <a:pt x="727" y="118"/>
                  <a:pt x="725" y="106"/>
                </a:cubicBezTo>
                <a:cubicBezTo>
                  <a:pt x="723" y="94"/>
                  <a:pt x="723" y="94"/>
                  <a:pt x="723" y="94"/>
                </a:cubicBezTo>
                <a:cubicBezTo>
                  <a:pt x="719" y="78"/>
                  <a:pt x="707" y="66"/>
                  <a:pt x="697" y="66"/>
                </a:cubicBezTo>
                <a:cubicBezTo>
                  <a:pt x="687" y="66"/>
                  <a:pt x="673" y="61"/>
                  <a:pt x="667" y="55"/>
                </a:cubicBezTo>
                <a:cubicBezTo>
                  <a:pt x="666" y="54"/>
                  <a:pt x="666" y="54"/>
                  <a:pt x="665" y="53"/>
                </a:cubicBezTo>
                <a:cubicBezTo>
                  <a:pt x="647" y="50"/>
                  <a:pt x="628" y="48"/>
                  <a:pt x="609" y="47"/>
                </a:cubicBezTo>
                <a:cubicBezTo>
                  <a:pt x="607" y="50"/>
                  <a:pt x="605" y="53"/>
                  <a:pt x="605" y="55"/>
                </a:cubicBezTo>
                <a:cubicBezTo>
                  <a:pt x="605" y="61"/>
                  <a:pt x="605" y="70"/>
                  <a:pt x="605" y="75"/>
                </a:cubicBezTo>
                <a:cubicBezTo>
                  <a:pt x="605" y="80"/>
                  <a:pt x="602" y="88"/>
                  <a:pt x="597" y="93"/>
                </a:cubicBezTo>
                <a:cubicBezTo>
                  <a:pt x="593" y="97"/>
                  <a:pt x="588" y="105"/>
                  <a:pt x="586" y="111"/>
                </a:cubicBezTo>
                <a:close/>
                <a:moveTo>
                  <a:pt x="783" y="588"/>
                </a:moveTo>
                <a:cubicBezTo>
                  <a:pt x="775" y="597"/>
                  <a:pt x="770" y="606"/>
                  <a:pt x="770" y="614"/>
                </a:cubicBezTo>
                <a:cubicBezTo>
                  <a:pt x="770" y="627"/>
                  <a:pt x="762" y="648"/>
                  <a:pt x="751" y="660"/>
                </a:cubicBezTo>
                <a:cubicBezTo>
                  <a:pt x="740" y="672"/>
                  <a:pt x="725" y="688"/>
                  <a:pt x="717" y="694"/>
                </a:cubicBezTo>
                <a:cubicBezTo>
                  <a:pt x="709" y="701"/>
                  <a:pt x="698" y="709"/>
                  <a:pt x="692" y="713"/>
                </a:cubicBezTo>
                <a:cubicBezTo>
                  <a:pt x="687" y="717"/>
                  <a:pt x="679" y="726"/>
                  <a:pt x="674" y="733"/>
                </a:cubicBezTo>
                <a:cubicBezTo>
                  <a:pt x="670" y="740"/>
                  <a:pt x="673" y="746"/>
                  <a:pt x="680" y="747"/>
                </a:cubicBezTo>
                <a:cubicBezTo>
                  <a:pt x="687" y="747"/>
                  <a:pt x="695" y="748"/>
                  <a:pt x="698" y="749"/>
                </a:cubicBezTo>
                <a:cubicBezTo>
                  <a:pt x="701" y="750"/>
                  <a:pt x="701" y="755"/>
                  <a:pt x="698" y="760"/>
                </a:cubicBezTo>
                <a:cubicBezTo>
                  <a:pt x="695" y="766"/>
                  <a:pt x="687" y="770"/>
                  <a:pt x="678" y="770"/>
                </a:cubicBezTo>
                <a:cubicBezTo>
                  <a:pt x="670" y="770"/>
                  <a:pt x="656" y="770"/>
                  <a:pt x="647" y="770"/>
                </a:cubicBezTo>
                <a:cubicBezTo>
                  <a:pt x="638" y="770"/>
                  <a:pt x="631" y="769"/>
                  <a:pt x="631" y="767"/>
                </a:cubicBezTo>
                <a:cubicBezTo>
                  <a:pt x="631" y="766"/>
                  <a:pt x="624" y="764"/>
                  <a:pt x="615" y="764"/>
                </a:cubicBezTo>
                <a:cubicBezTo>
                  <a:pt x="606" y="764"/>
                  <a:pt x="599" y="758"/>
                  <a:pt x="599" y="751"/>
                </a:cubicBezTo>
                <a:cubicBezTo>
                  <a:pt x="599" y="743"/>
                  <a:pt x="594" y="737"/>
                  <a:pt x="588" y="737"/>
                </a:cubicBezTo>
                <a:cubicBezTo>
                  <a:pt x="582" y="737"/>
                  <a:pt x="577" y="734"/>
                  <a:pt x="577" y="729"/>
                </a:cubicBezTo>
                <a:cubicBezTo>
                  <a:pt x="577" y="725"/>
                  <a:pt x="575" y="713"/>
                  <a:pt x="573" y="703"/>
                </a:cubicBezTo>
                <a:cubicBezTo>
                  <a:pt x="571" y="695"/>
                  <a:pt x="569" y="682"/>
                  <a:pt x="568" y="670"/>
                </a:cubicBezTo>
                <a:cubicBezTo>
                  <a:pt x="526" y="684"/>
                  <a:pt x="484" y="695"/>
                  <a:pt x="444" y="705"/>
                </a:cubicBezTo>
                <a:cubicBezTo>
                  <a:pt x="444" y="705"/>
                  <a:pt x="444" y="705"/>
                  <a:pt x="444" y="705"/>
                </a:cubicBezTo>
                <a:cubicBezTo>
                  <a:pt x="427" y="751"/>
                  <a:pt x="391" y="788"/>
                  <a:pt x="371" y="807"/>
                </a:cubicBezTo>
                <a:cubicBezTo>
                  <a:pt x="371" y="807"/>
                  <a:pt x="371" y="807"/>
                  <a:pt x="371" y="807"/>
                </a:cubicBezTo>
                <a:cubicBezTo>
                  <a:pt x="437" y="847"/>
                  <a:pt x="514" y="870"/>
                  <a:pt x="596" y="870"/>
                </a:cubicBezTo>
                <a:cubicBezTo>
                  <a:pt x="831" y="870"/>
                  <a:pt x="1022" y="683"/>
                  <a:pt x="1030" y="450"/>
                </a:cubicBezTo>
                <a:cubicBezTo>
                  <a:pt x="961" y="499"/>
                  <a:pt x="876" y="546"/>
                  <a:pt x="783" y="588"/>
                </a:cubicBezTo>
                <a:close/>
                <a:moveTo>
                  <a:pt x="143" y="705"/>
                </a:moveTo>
                <a:cubicBezTo>
                  <a:pt x="137" y="688"/>
                  <a:pt x="134" y="671"/>
                  <a:pt x="132" y="653"/>
                </a:cubicBezTo>
                <a:cubicBezTo>
                  <a:pt x="132" y="653"/>
                  <a:pt x="132" y="653"/>
                  <a:pt x="132" y="653"/>
                </a:cubicBezTo>
                <a:cubicBezTo>
                  <a:pt x="132" y="653"/>
                  <a:pt x="131" y="653"/>
                  <a:pt x="131" y="653"/>
                </a:cubicBezTo>
                <a:cubicBezTo>
                  <a:pt x="128" y="653"/>
                  <a:pt x="125" y="652"/>
                  <a:pt x="122" y="652"/>
                </a:cubicBezTo>
                <a:cubicBezTo>
                  <a:pt x="122" y="651"/>
                  <a:pt x="121" y="651"/>
                  <a:pt x="121" y="651"/>
                </a:cubicBezTo>
                <a:cubicBezTo>
                  <a:pt x="118" y="651"/>
                  <a:pt x="115" y="650"/>
                  <a:pt x="113" y="649"/>
                </a:cubicBezTo>
                <a:cubicBezTo>
                  <a:pt x="112" y="649"/>
                  <a:pt x="112" y="649"/>
                  <a:pt x="111" y="649"/>
                </a:cubicBezTo>
                <a:cubicBezTo>
                  <a:pt x="109" y="648"/>
                  <a:pt x="106" y="648"/>
                  <a:pt x="104" y="647"/>
                </a:cubicBezTo>
                <a:cubicBezTo>
                  <a:pt x="104" y="647"/>
                  <a:pt x="103" y="647"/>
                  <a:pt x="103" y="647"/>
                </a:cubicBezTo>
                <a:cubicBezTo>
                  <a:pt x="100" y="646"/>
                  <a:pt x="98" y="645"/>
                  <a:pt x="96" y="644"/>
                </a:cubicBezTo>
                <a:cubicBezTo>
                  <a:pt x="96" y="644"/>
                  <a:pt x="95" y="644"/>
                  <a:pt x="95" y="644"/>
                </a:cubicBezTo>
                <a:cubicBezTo>
                  <a:pt x="93" y="643"/>
                  <a:pt x="91" y="642"/>
                  <a:pt x="89" y="641"/>
                </a:cubicBezTo>
                <a:cubicBezTo>
                  <a:pt x="88" y="641"/>
                  <a:pt x="88" y="641"/>
                  <a:pt x="88" y="641"/>
                </a:cubicBezTo>
                <a:cubicBezTo>
                  <a:pt x="86" y="640"/>
                  <a:pt x="84" y="639"/>
                  <a:pt x="82" y="638"/>
                </a:cubicBezTo>
                <a:cubicBezTo>
                  <a:pt x="82" y="638"/>
                  <a:pt x="82" y="638"/>
                  <a:pt x="82" y="637"/>
                </a:cubicBezTo>
                <a:cubicBezTo>
                  <a:pt x="80" y="636"/>
                  <a:pt x="78" y="635"/>
                  <a:pt x="77" y="634"/>
                </a:cubicBezTo>
                <a:cubicBezTo>
                  <a:pt x="76" y="634"/>
                  <a:pt x="76" y="634"/>
                  <a:pt x="76" y="634"/>
                </a:cubicBezTo>
                <a:cubicBezTo>
                  <a:pt x="75" y="633"/>
                  <a:pt x="73" y="632"/>
                  <a:pt x="72" y="630"/>
                </a:cubicBezTo>
                <a:cubicBezTo>
                  <a:pt x="72" y="630"/>
                  <a:pt x="72" y="630"/>
                  <a:pt x="71" y="630"/>
                </a:cubicBezTo>
                <a:cubicBezTo>
                  <a:pt x="70" y="629"/>
                  <a:pt x="69" y="628"/>
                  <a:pt x="68" y="626"/>
                </a:cubicBezTo>
                <a:cubicBezTo>
                  <a:pt x="68" y="626"/>
                  <a:pt x="68" y="626"/>
                  <a:pt x="68" y="626"/>
                </a:cubicBezTo>
                <a:cubicBezTo>
                  <a:pt x="66" y="625"/>
                  <a:pt x="65" y="623"/>
                  <a:pt x="65" y="622"/>
                </a:cubicBezTo>
                <a:cubicBezTo>
                  <a:pt x="65" y="622"/>
                  <a:pt x="65" y="622"/>
                  <a:pt x="64" y="622"/>
                </a:cubicBezTo>
                <a:cubicBezTo>
                  <a:pt x="64" y="620"/>
                  <a:pt x="63" y="619"/>
                  <a:pt x="62" y="617"/>
                </a:cubicBezTo>
                <a:cubicBezTo>
                  <a:pt x="62" y="617"/>
                  <a:pt x="62" y="616"/>
                  <a:pt x="61" y="615"/>
                </a:cubicBezTo>
                <a:cubicBezTo>
                  <a:pt x="61" y="614"/>
                  <a:pt x="61" y="614"/>
                  <a:pt x="61" y="614"/>
                </a:cubicBezTo>
                <a:cubicBezTo>
                  <a:pt x="61" y="613"/>
                  <a:pt x="61" y="612"/>
                  <a:pt x="61" y="611"/>
                </a:cubicBezTo>
                <a:cubicBezTo>
                  <a:pt x="61" y="611"/>
                  <a:pt x="61" y="611"/>
                  <a:pt x="61" y="610"/>
                </a:cubicBezTo>
                <a:cubicBezTo>
                  <a:pt x="61" y="610"/>
                  <a:pt x="61" y="609"/>
                  <a:pt x="61" y="608"/>
                </a:cubicBezTo>
                <a:cubicBezTo>
                  <a:pt x="61" y="607"/>
                  <a:pt x="61" y="607"/>
                  <a:pt x="61" y="607"/>
                </a:cubicBezTo>
                <a:cubicBezTo>
                  <a:pt x="61" y="606"/>
                  <a:pt x="61" y="604"/>
                  <a:pt x="61" y="603"/>
                </a:cubicBezTo>
                <a:cubicBezTo>
                  <a:pt x="61" y="603"/>
                  <a:pt x="61" y="603"/>
                  <a:pt x="61" y="602"/>
                </a:cubicBezTo>
                <a:cubicBezTo>
                  <a:pt x="61" y="601"/>
                  <a:pt x="61" y="600"/>
                  <a:pt x="61" y="599"/>
                </a:cubicBezTo>
                <a:cubicBezTo>
                  <a:pt x="61" y="599"/>
                  <a:pt x="61" y="599"/>
                  <a:pt x="61" y="598"/>
                </a:cubicBezTo>
                <a:cubicBezTo>
                  <a:pt x="62" y="597"/>
                  <a:pt x="62" y="596"/>
                  <a:pt x="62" y="594"/>
                </a:cubicBezTo>
                <a:cubicBezTo>
                  <a:pt x="62" y="594"/>
                  <a:pt x="62" y="594"/>
                  <a:pt x="63" y="593"/>
                </a:cubicBezTo>
                <a:cubicBezTo>
                  <a:pt x="63" y="592"/>
                  <a:pt x="63" y="591"/>
                  <a:pt x="64" y="589"/>
                </a:cubicBezTo>
                <a:cubicBezTo>
                  <a:pt x="64" y="589"/>
                  <a:pt x="64" y="589"/>
                  <a:pt x="64" y="589"/>
                </a:cubicBezTo>
                <a:cubicBezTo>
                  <a:pt x="64" y="587"/>
                  <a:pt x="65" y="586"/>
                  <a:pt x="66" y="584"/>
                </a:cubicBezTo>
                <a:cubicBezTo>
                  <a:pt x="66" y="584"/>
                  <a:pt x="66" y="583"/>
                  <a:pt x="66" y="583"/>
                </a:cubicBezTo>
                <a:cubicBezTo>
                  <a:pt x="67" y="581"/>
                  <a:pt x="67" y="580"/>
                  <a:pt x="68" y="578"/>
                </a:cubicBezTo>
                <a:cubicBezTo>
                  <a:pt x="68" y="578"/>
                  <a:pt x="69" y="577"/>
                  <a:pt x="69" y="577"/>
                </a:cubicBezTo>
                <a:cubicBezTo>
                  <a:pt x="69" y="576"/>
                  <a:pt x="70" y="574"/>
                  <a:pt x="71" y="573"/>
                </a:cubicBezTo>
                <a:cubicBezTo>
                  <a:pt x="71" y="573"/>
                  <a:pt x="71" y="572"/>
                  <a:pt x="72" y="571"/>
                </a:cubicBezTo>
                <a:cubicBezTo>
                  <a:pt x="73" y="570"/>
                  <a:pt x="74" y="568"/>
                  <a:pt x="74" y="567"/>
                </a:cubicBezTo>
                <a:cubicBezTo>
                  <a:pt x="75" y="566"/>
                  <a:pt x="75" y="565"/>
                  <a:pt x="76" y="565"/>
                </a:cubicBezTo>
                <a:cubicBezTo>
                  <a:pt x="76" y="563"/>
                  <a:pt x="77" y="562"/>
                  <a:pt x="78" y="561"/>
                </a:cubicBezTo>
                <a:cubicBezTo>
                  <a:pt x="79" y="560"/>
                  <a:pt x="79" y="560"/>
                  <a:pt x="79" y="559"/>
                </a:cubicBezTo>
                <a:cubicBezTo>
                  <a:pt x="80" y="557"/>
                  <a:pt x="82" y="555"/>
                  <a:pt x="83" y="554"/>
                </a:cubicBezTo>
                <a:cubicBezTo>
                  <a:pt x="83" y="553"/>
                  <a:pt x="84" y="552"/>
                  <a:pt x="85" y="551"/>
                </a:cubicBezTo>
                <a:cubicBezTo>
                  <a:pt x="86" y="550"/>
                  <a:pt x="87" y="549"/>
                  <a:pt x="88" y="547"/>
                </a:cubicBezTo>
                <a:cubicBezTo>
                  <a:pt x="88" y="546"/>
                  <a:pt x="89" y="545"/>
                  <a:pt x="90" y="544"/>
                </a:cubicBezTo>
                <a:cubicBezTo>
                  <a:pt x="91" y="543"/>
                  <a:pt x="92" y="541"/>
                  <a:pt x="94" y="540"/>
                </a:cubicBezTo>
                <a:cubicBezTo>
                  <a:pt x="94" y="539"/>
                  <a:pt x="95" y="538"/>
                  <a:pt x="96" y="537"/>
                </a:cubicBezTo>
                <a:cubicBezTo>
                  <a:pt x="97" y="535"/>
                  <a:pt x="99" y="534"/>
                  <a:pt x="100" y="532"/>
                </a:cubicBezTo>
                <a:cubicBezTo>
                  <a:pt x="110" y="520"/>
                  <a:pt x="123" y="508"/>
                  <a:pt x="137" y="495"/>
                </a:cubicBezTo>
                <a:cubicBezTo>
                  <a:pt x="135" y="475"/>
                  <a:pt x="133" y="455"/>
                  <a:pt x="133" y="435"/>
                </a:cubicBezTo>
                <a:cubicBezTo>
                  <a:pt x="133" y="430"/>
                  <a:pt x="133" y="425"/>
                  <a:pt x="134" y="420"/>
                </a:cubicBezTo>
                <a:cubicBezTo>
                  <a:pt x="108" y="440"/>
                  <a:pt x="87" y="459"/>
                  <a:pt x="68" y="478"/>
                </a:cubicBezTo>
                <a:cubicBezTo>
                  <a:pt x="68" y="478"/>
                  <a:pt x="67" y="479"/>
                  <a:pt x="67" y="480"/>
                </a:cubicBezTo>
                <a:cubicBezTo>
                  <a:pt x="65" y="481"/>
                  <a:pt x="64" y="482"/>
                  <a:pt x="63" y="484"/>
                </a:cubicBezTo>
                <a:cubicBezTo>
                  <a:pt x="62" y="484"/>
                  <a:pt x="61" y="485"/>
                  <a:pt x="61" y="486"/>
                </a:cubicBezTo>
                <a:cubicBezTo>
                  <a:pt x="59" y="487"/>
                  <a:pt x="58" y="489"/>
                  <a:pt x="57" y="490"/>
                </a:cubicBezTo>
                <a:cubicBezTo>
                  <a:pt x="56" y="491"/>
                  <a:pt x="56" y="492"/>
                  <a:pt x="55" y="493"/>
                </a:cubicBezTo>
                <a:cubicBezTo>
                  <a:pt x="54" y="494"/>
                  <a:pt x="53" y="495"/>
                  <a:pt x="51" y="497"/>
                </a:cubicBezTo>
                <a:cubicBezTo>
                  <a:pt x="51" y="497"/>
                  <a:pt x="51" y="498"/>
                  <a:pt x="50" y="498"/>
                </a:cubicBezTo>
                <a:cubicBezTo>
                  <a:pt x="48" y="501"/>
                  <a:pt x="46" y="503"/>
                  <a:pt x="44" y="506"/>
                </a:cubicBezTo>
                <a:cubicBezTo>
                  <a:pt x="43" y="507"/>
                  <a:pt x="42" y="508"/>
                  <a:pt x="42" y="508"/>
                </a:cubicBezTo>
                <a:cubicBezTo>
                  <a:pt x="41" y="510"/>
                  <a:pt x="40" y="511"/>
                  <a:pt x="39" y="512"/>
                </a:cubicBezTo>
                <a:cubicBezTo>
                  <a:pt x="38" y="513"/>
                  <a:pt x="37" y="514"/>
                  <a:pt x="37" y="515"/>
                </a:cubicBezTo>
                <a:cubicBezTo>
                  <a:pt x="36" y="516"/>
                  <a:pt x="35" y="517"/>
                  <a:pt x="34" y="518"/>
                </a:cubicBezTo>
                <a:cubicBezTo>
                  <a:pt x="34" y="519"/>
                  <a:pt x="33" y="520"/>
                  <a:pt x="32" y="521"/>
                </a:cubicBezTo>
                <a:cubicBezTo>
                  <a:pt x="31" y="523"/>
                  <a:pt x="30" y="525"/>
                  <a:pt x="28" y="527"/>
                </a:cubicBezTo>
                <a:cubicBezTo>
                  <a:pt x="28" y="528"/>
                  <a:pt x="27" y="529"/>
                  <a:pt x="26" y="530"/>
                </a:cubicBezTo>
                <a:cubicBezTo>
                  <a:pt x="26" y="531"/>
                  <a:pt x="25" y="532"/>
                  <a:pt x="24" y="534"/>
                </a:cubicBezTo>
                <a:cubicBezTo>
                  <a:pt x="24" y="535"/>
                  <a:pt x="23" y="536"/>
                  <a:pt x="22" y="536"/>
                </a:cubicBezTo>
                <a:cubicBezTo>
                  <a:pt x="22" y="538"/>
                  <a:pt x="21" y="539"/>
                  <a:pt x="21" y="540"/>
                </a:cubicBezTo>
                <a:cubicBezTo>
                  <a:pt x="20" y="541"/>
                  <a:pt x="19" y="542"/>
                  <a:pt x="19" y="543"/>
                </a:cubicBezTo>
                <a:cubicBezTo>
                  <a:pt x="18" y="544"/>
                  <a:pt x="18" y="545"/>
                  <a:pt x="17" y="546"/>
                </a:cubicBezTo>
                <a:cubicBezTo>
                  <a:pt x="16" y="547"/>
                  <a:pt x="16" y="549"/>
                  <a:pt x="15" y="550"/>
                </a:cubicBezTo>
                <a:cubicBezTo>
                  <a:pt x="14" y="551"/>
                  <a:pt x="14" y="553"/>
                  <a:pt x="13" y="554"/>
                </a:cubicBezTo>
                <a:cubicBezTo>
                  <a:pt x="13" y="555"/>
                  <a:pt x="12" y="556"/>
                  <a:pt x="12" y="557"/>
                </a:cubicBezTo>
                <a:cubicBezTo>
                  <a:pt x="11" y="558"/>
                  <a:pt x="11" y="559"/>
                  <a:pt x="10" y="560"/>
                </a:cubicBezTo>
                <a:cubicBezTo>
                  <a:pt x="10" y="561"/>
                  <a:pt x="9" y="562"/>
                  <a:pt x="9" y="564"/>
                </a:cubicBezTo>
                <a:cubicBezTo>
                  <a:pt x="9" y="564"/>
                  <a:pt x="8" y="565"/>
                  <a:pt x="8" y="566"/>
                </a:cubicBezTo>
                <a:cubicBezTo>
                  <a:pt x="8" y="567"/>
                  <a:pt x="7" y="569"/>
                  <a:pt x="7" y="570"/>
                </a:cubicBezTo>
                <a:cubicBezTo>
                  <a:pt x="6" y="571"/>
                  <a:pt x="6" y="571"/>
                  <a:pt x="6" y="572"/>
                </a:cubicBezTo>
                <a:cubicBezTo>
                  <a:pt x="5" y="574"/>
                  <a:pt x="5" y="576"/>
                  <a:pt x="4" y="578"/>
                </a:cubicBezTo>
                <a:cubicBezTo>
                  <a:pt x="4" y="578"/>
                  <a:pt x="4" y="579"/>
                  <a:pt x="4" y="580"/>
                </a:cubicBezTo>
                <a:cubicBezTo>
                  <a:pt x="3" y="581"/>
                  <a:pt x="3" y="582"/>
                  <a:pt x="3" y="584"/>
                </a:cubicBezTo>
                <a:cubicBezTo>
                  <a:pt x="3" y="584"/>
                  <a:pt x="3" y="585"/>
                  <a:pt x="2" y="586"/>
                </a:cubicBezTo>
                <a:cubicBezTo>
                  <a:pt x="2" y="587"/>
                  <a:pt x="2" y="588"/>
                  <a:pt x="2" y="590"/>
                </a:cubicBezTo>
                <a:cubicBezTo>
                  <a:pt x="2" y="590"/>
                  <a:pt x="2" y="591"/>
                  <a:pt x="1" y="592"/>
                </a:cubicBezTo>
                <a:cubicBezTo>
                  <a:pt x="1" y="594"/>
                  <a:pt x="1" y="595"/>
                  <a:pt x="1" y="597"/>
                </a:cubicBezTo>
                <a:cubicBezTo>
                  <a:pt x="1" y="598"/>
                  <a:pt x="1" y="598"/>
                  <a:pt x="1" y="598"/>
                </a:cubicBezTo>
                <a:cubicBezTo>
                  <a:pt x="1" y="600"/>
                  <a:pt x="0" y="601"/>
                  <a:pt x="0" y="603"/>
                </a:cubicBezTo>
                <a:cubicBezTo>
                  <a:pt x="0" y="603"/>
                  <a:pt x="0" y="604"/>
                  <a:pt x="0" y="605"/>
                </a:cubicBezTo>
                <a:cubicBezTo>
                  <a:pt x="0" y="606"/>
                  <a:pt x="0" y="607"/>
                  <a:pt x="0" y="609"/>
                </a:cubicBezTo>
                <a:cubicBezTo>
                  <a:pt x="0" y="609"/>
                  <a:pt x="0" y="610"/>
                  <a:pt x="0" y="611"/>
                </a:cubicBezTo>
                <a:cubicBezTo>
                  <a:pt x="1" y="612"/>
                  <a:pt x="1" y="613"/>
                  <a:pt x="1" y="615"/>
                </a:cubicBezTo>
                <a:cubicBezTo>
                  <a:pt x="1" y="615"/>
                  <a:pt x="1" y="616"/>
                  <a:pt x="1" y="616"/>
                </a:cubicBezTo>
                <a:cubicBezTo>
                  <a:pt x="1" y="618"/>
                  <a:pt x="1" y="620"/>
                  <a:pt x="2" y="621"/>
                </a:cubicBezTo>
                <a:cubicBezTo>
                  <a:pt x="2" y="622"/>
                  <a:pt x="2" y="622"/>
                  <a:pt x="2" y="623"/>
                </a:cubicBezTo>
                <a:cubicBezTo>
                  <a:pt x="2" y="624"/>
                  <a:pt x="2" y="625"/>
                  <a:pt x="3" y="627"/>
                </a:cubicBezTo>
                <a:cubicBezTo>
                  <a:pt x="3" y="627"/>
                  <a:pt x="3" y="628"/>
                  <a:pt x="3" y="628"/>
                </a:cubicBezTo>
                <a:cubicBezTo>
                  <a:pt x="3" y="630"/>
                  <a:pt x="4" y="631"/>
                  <a:pt x="4" y="632"/>
                </a:cubicBezTo>
                <a:cubicBezTo>
                  <a:pt x="4" y="633"/>
                  <a:pt x="4" y="633"/>
                  <a:pt x="5" y="634"/>
                </a:cubicBezTo>
                <a:cubicBezTo>
                  <a:pt x="5" y="636"/>
                  <a:pt x="6" y="637"/>
                  <a:pt x="6" y="639"/>
                </a:cubicBezTo>
                <a:cubicBezTo>
                  <a:pt x="18" y="670"/>
                  <a:pt x="53" y="706"/>
                  <a:pt x="148" y="716"/>
                </a:cubicBezTo>
                <a:cubicBezTo>
                  <a:pt x="146" y="712"/>
                  <a:pt x="145" y="709"/>
                  <a:pt x="143" y="705"/>
                </a:cubicBezTo>
                <a:close/>
                <a:moveTo>
                  <a:pt x="1186" y="186"/>
                </a:moveTo>
                <a:cubicBezTo>
                  <a:pt x="1185" y="185"/>
                  <a:pt x="1185" y="184"/>
                  <a:pt x="1184" y="183"/>
                </a:cubicBezTo>
                <a:cubicBezTo>
                  <a:pt x="1184" y="182"/>
                  <a:pt x="1184" y="182"/>
                  <a:pt x="1184" y="182"/>
                </a:cubicBezTo>
                <a:cubicBezTo>
                  <a:pt x="1184" y="181"/>
                  <a:pt x="1183" y="180"/>
                  <a:pt x="1183" y="180"/>
                </a:cubicBezTo>
                <a:cubicBezTo>
                  <a:pt x="1183" y="179"/>
                  <a:pt x="1182" y="179"/>
                  <a:pt x="1182" y="178"/>
                </a:cubicBezTo>
                <a:cubicBezTo>
                  <a:pt x="1182" y="178"/>
                  <a:pt x="1182" y="177"/>
                  <a:pt x="1181" y="176"/>
                </a:cubicBezTo>
                <a:cubicBezTo>
                  <a:pt x="1181" y="176"/>
                  <a:pt x="1181" y="175"/>
                  <a:pt x="1180" y="175"/>
                </a:cubicBezTo>
                <a:cubicBezTo>
                  <a:pt x="1180" y="174"/>
                  <a:pt x="1180" y="174"/>
                  <a:pt x="1179" y="173"/>
                </a:cubicBezTo>
                <a:cubicBezTo>
                  <a:pt x="1179" y="173"/>
                  <a:pt x="1179" y="172"/>
                  <a:pt x="1179" y="172"/>
                </a:cubicBezTo>
                <a:cubicBezTo>
                  <a:pt x="1178" y="171"/>
                  <a:pt x="1178" y="170"/>
                  <a:pt x="1178" y="170"/>
                </a:cubicBezTo>
                <a:cubicBezTo>
                  <a:pt x="1177" y="169"/>
                  <a:pt x="1177" y="169"/>
                  <a:pt x="1176" y="168"/>
                </a:cubicBezTo>
                <a:cubicBezTo>
                  <a:pt x="1176" y="168"/>
                  <a:pt x="1176" y="167"/>
                  <a:pt x="1175" y="167"/>
                </a:cubicBezTo>
                <a:cubicBezTo>
                  <a:pt x="1174" y="165"/>
                  <a:pt x="1173" y="164"/>
                  <a:pt x="1172" y="162"/>
                </a:cubicBezTo>
                <a:cubicBezTo>
                  <a:pt x="1172" y="162"/>
                  <a:pt x="1172" y="162"/>
                  <a:pt x="1172" y="162"/>
                </a:cubicBezTo>
                <a:cubicBezTo>
                  <a:pt x="1171" y="161"/>
                  <a:pt x="1171" y="161"/>
                  <a:pt x="1170" y="160"/>
                </a:cubicBezTo>
                <a:cubicBezTo>
                  <a:pt x="1170" y="160"/>
                  <a:pt x="1169" y="159"/>
                  <a:pt x="1169" y="159"/>
                </a:cubicBezTo>
                <a:cubicBezTo>
                  <a:pt x="1169" y="158"/>
                  <a:pt x="1168" y="157"/>
                  <a:pt x="1167" y="157"/>
                </a:cubicBezTo>
                <a:cubicBezTo>
                  <a:pt x="1167" y="156"/>
                  <a:pt x="1167" y="156"/>
                  <a:pt x="1166" y="156"/>
                </a:cubicBezTo>
                <a:cubicBezTo>
                  <a:pt x="1166" y="155"/>
                  <a:pt x="1165" y="154"/>
                  <a:pt x="1164" y="154"/>
                </a:cubicBezTo>
                <a:cubicBezTo>
                  <a:pt x="1164" y="153"/>
                  <a:pt x="1164" y="153"/>
                  <a:pt x="1163" y="153"/>
                </a:cubicBezTo>
                <a:cubicBezTo>
                  <a:pt x="1163" y="152"/>
                  <a:pt x="1162" y="151"/>
                  <a:pt x="1161" y="151"/>
                </a:cubicBezTo>
                <a:cubicBezTo>
                  <a:pt x="1161" y="150"/>
                  <a:pt x="1160" y="150"/>
                  <a:pt x="1160" y="150"/>
                </a:cubicBezTo>
                <a:cubicBezTo>
                  <a:pt x="1154" y="144"/>
                  <a:pt x="1146" y="139"/>
                  <a:pt x="1137" y="134"/>
                </a:cubicBezTo>
                <a:cubicBezTo>
                  <a:pt x="1137" y="134"/>
                  <a:pt x="1137" y="134"/>
                  <a:pt x="1137" y="134"/>
                </a:cubicBezTo>
                <a:cubicBezTo>
                  <a:pt x="1116" y="122"/>
                  <a:pt x="1086" y="113"/>
                  <a:pt x="1045" y="109"/>
                </a:cubicBezTo>
                <a:cubicBezTo>
                  <a:pt x="1045" y="109"/>
                  <a:pt x="1045" y="109"/>
                  <a:pt x="1045" y="109"/>
                </a:cubicBezTo>
                <a:cubicBezTo>
                  <a:pt x="1030" y="107"/>
                  <a:pt x="1013" y="107"/>
                  <a:pt x="995" y="107"/>
                </a:cubicBezTo>
                <a:cubicBezTo>
                  <a:pt x="973" y="107"/>
                  <a:pt x="950" y="108"/>
                  <a:pt x="925" y="110"/>
                </a:cubicBezTo>
                <a:cubicBezTo>
                  <a:pt x="943" y="128"/>
                  <a:pt x="959" y="147"/>
                  <a:pt x="973" y="167"/>
                </a:cubicBezTo>
                <a:cubicBezTo>
                  <a:pt x="981" y="167"/>
                  <a:pt x="988" y="167"/>
                  <a:pt x="995" y="167"/>
                </a:cubicBezTo>
                <a:cubicBezTo>
                  <a:pt x="1024" y="167"/>
                  <a:pt x="1050" y="169"/>
                  <a:pt x="1071" y="174"/>
                </a:cubicBezTo>
                <a:cubicBezTo>
                  <a:pt x="1071" y="174"/>
                  <a:pt x="1071" y="174"/>
                  <a:pt x="1071" y="174"/>
                </a:cubicBezTo>
                <a:cubicBezTo>
                  <a:pt x="1089" y="177"/>
                  <a:pt x="1103" y="183"/>
                  <a:pt x="1114" y="189"/>
                </a:cubicBezTo>
                <a:cubicBezTo>
                  <a:pt x="1114" y="189"/>
                  <a:pt x="1114" y="189"/>
                  <a:pt x="1114" y="190"/>
                </a:cubicBezTo>
                <a:cubicBezTo>
                  <a:pt x="1115" y="190"/>
                  <a:pt x="1116" y="191"/>
                  <a:pt x="1117" y="192"/>
                </a:cubicBezTo>
                <a:cubicBezTo>
                  <a:pt x="1117" y="192"/>
                  <a:pt x="1117" y="192"/>
                  <a:pt x="1117" y="192"/>
                </a:cubicBezTo>
                <a:cubicBezTo>
                  <a:pt x="1119" y="193"/>
                  <a:pt x="1121" y="195"/>
                  <a:pt x="1122" y="197"/>
                </a:cubicBezTo>
                <a:cubicBezTo>
                  <a:pt x="1123" y="197"/>
                  <a:pt x="1123" y="197"/>
                  <a:pt x="1123" y="197"/>
                </a:cubicBezTo>
                <a:cubicBezTo>
                  <a:pt x="1123" y="198"/>
                  <a:pt x="1124" y="198"/>
                  <a:pt x="1125" y="199"/>
                </a:cubicBezTo>
                <a:cubicBezTo>
                  <a:pt x="1125" y="199"/>
                  <a:pt x="1125" y="199"/>
                  <a:pt x="1125" y="200"/>
                </a:cubicBezTo>
                <a:cubicBezTo>
                  <a:pt x="1126" y="200"/>
                  <a:pt x="1126" y="201"/>
                  <a:pt x="1126" y="201"/>
                </a:cubicBezTo>
                <a:cubicBezTo>
                  <a:pt x="1127" y="202"/>
                  <a:pt x="1127" y="202"/>
                  <a:pt x="1127" y="202"/>
                </a:cubicBezTo>
                <a:cubicBezTo>
                  <a:pt x="1127" y="203"/>
                  <a:pt x="1128" y="203"/>
                  <a:pt x="1128" y="204"/>
                </a:cubicBezTo>
                <a:cubicBezTo>
                  <a:pt x="1128" y="204"/>
                  <a:pt x="1128" y="205"/>
                  <a:pt x="1128" y="205"/>
                </a:cubicBezTo>
                <a:cubicBezTo>
                  <a:pt x="1129" y="206"/>
                  <a:pt x="1129" y="207"/>
                  <a:pt x="1130" y="207"/>
                </a:cubicBezTo>
                <a:cubicBezTo>
                  <a:pt x="1130" y="208"/>
                  <a:pt x="1130" y="209"/>
                  <a:pt x="1130" y="210"/>
                </a:cubicBezTo>
                <a:cubicBezTo>
                  <a:pt x="1130" y="210"/>
                  <a:pt x="1131" y="210"/>
                  <a:pt x="1131" y="210"/>
                </a:cubicBezTo>
                <a:cubicBezTo>
                  <a:pt x="1131" y="211"/>
                  <a:pt x="1131" y="211"/>
                  <a:pt x="1131" y="212"/>
                </a:cubicBezTo>
                <a:cubicBezTo>
                  <a:pt x="1131" y="212"/>
                  <a:pt x="1131" y="213"/>
                  <a:pt x="1131" y="213"/>
                </a:cubicBezTo>
                <a:cubicBezTo>
                  <a:pt x="1131" y="213"/>
                  <a:pt x="1131" y="214"/>
                  <a:pt x="1131" y="214"/>
                </a:cubicBezTo>
                <a:cubicBezTo>
                  <a:pt x="1131" y="215"/>
                  <a:pt x="1131" y="215"/>
                  <a:pt x="1131" y="215"/>
                </a:cubicBezTo>
                <a:cubicBezTo>
                  <a:pt x="1131" y="216"/>
                  <a:pt x="1131" y="216"/>
                  <a:pt x="1131" y="217"/>
                </a:cubicBezTo>
                <a:cubicBezTo>
                  <a:pt x="1131" y="217"/>
                  <a:pt x="1131" y="218"/>
                  <a:pt x="1131" y="218"/>
                </a:cubicBezTo>
                <a:cubicBezTo>
                  <a:pt x="1131" y="219"/>
                  <a:pt x="1131" y="219"/>
                  <a:pt x="1131" y="220"/>
                </a:cubicBezTo>
                <a:cubicBezTo>
                  <a:pt x="1131" y="220"/>
                  <a:pt x="1131" y="221"/>
                  <a:pt x="1131" y="221"/>
                </a:cubicBezTo>
                <a:cubicBezTo>
                  <a:pt x="1131" y="222"/>
                  <a:pt x="1131" y="222"/>
                  <a:pt x="1131" y="223"/>
                </a:cubicBezTo>
                <a:cubicBezTo>
                  <a:pt x="1131" y="223"/>
                  <a:pt x="1131" y="224"/>
                  <a:pt x="1131" y="224"/>
                </a:cubicBezTo>
                <a:cubicBezTo>
                  <a:pt x="1131" y="225"/>
                  <a:pt x="1131" y="225"/>
                  <a:pt x="1131" y="226"/>
                </a:cubicBezTo>
                <a:cubicBezTo>
                  <a:pt x="1131" y="226"/>
                  <a:pt x="1131" y="227"/>
                  <a:pt x="1130" y="227"/>
                </a:cubicBezTo>
                <a:cubicBezTo>
                  <a:pt x="1130" y="228"/>
                  <a:pt x="1130" y="228"/>
                  <a:pt x="1130" y="229"/>
                </a:cubicBezTo>
                <a:cubicBezTo>
                  <a:pt x="1130" y="229"/>
                  <a:pt x="1130" y="230"/>
                  <a:pt x="1130" y="231"/>
                </a:cubicBezTo>
                <a:cubicBezTo>
                  <a:pt x="1130" y="231"/>
                  <a:pt x="1130" y="231"/>
                  <a:pt x="1130" y="231"/>
                </a:cubicBezTo>
                <a:cubicBezTo>
                  <a:pt x="1129" y="233"/>
                  <a:pt x="1129" y="235"/>
                  <a:pt x="1128" y="237"/>
                </a:cubicBezTo>
                <a:cubicBezTo>
                  <a:pt x="1128" y="237"/>
                  <a:pt x="1128" y="237"/>
                  <a:pt x="1128" y="237"/>
                </a:cubicBezTo>
                <a:cubicBezTo>
                  <a:pt x="1127" y="238"/>
                  <a:pt x="1127" y="239"/>
                  <a:pt x="1127" y="240"/>
                </a:cubicBezTo>
                <a:cubicBezTo>
                  <a:pt x="1127" y="240"/>
                  <a:pt x="1126" y="241"/>
                  <a:pt x="1126" y="241"/>
                </a:cubicBezTo>
                <a:cubicBezTo>
                  <a:pt x="1126" y="242"/>
                  <a:pt x="1126" y="243"/>
                  <a:pt x="1125" y="244"/>
                </a:cubicBezTo>
                <a:cubicBezTo>
                  <a:pt x="1125" y="244"/>
                  <a:pt x="1125" y="244"/>
                  <a:pt x="1125" y="245"/>
                </a:cubicBezTo>
                <a:cubicBezTo>
                  <a:pt x="1124" y="246"/>
                  <a:pt x="1124" y="247"/>
                  <a:pt x="1123" y="248"/>
                </a:cubicBezTo>
                <a:cubicBezTo>
                  <a:pt x="1123" y="248"/>
                  <a:pt x="1123" y="248"/>
                  <a:pt x="1123" y="249"/>
                </a:cubicBezTo>
                <a:cubicBezTo>
                  <a:pt x="1122" y="250"/>
                  <a:pt x="1122" y="251"/>
                  <a:pt x="1121" y="252"/>
                </a:cubicBezTo>
                <a:cubicBezTo>
                  <a:pt x="1121" y="252"/>
                  <a:pt x="1121" y="252"/>
                  <a:pt x="1121" y="253"/>
                </a:cubicBezTo>
                <a:cubicBezTo>
                  <a:pt x="1120" y="254"/>
                  <a:pt x="1120" y="255"/>
                  <a:pt x="1119" y="256"/>
                </a:cubicBezTo>
                <a:cubicBezTo>
                  <a:pt x="1119" y="256"/>
                  <a:pt x="1119" y="256"/>
                  <a:pt x="1119" y="257"/>
                </a:cubicBezTo>
                <a:cubicBezTo>
                  <a:pt x="1118" y="258"/>
                  <a:pt x="1117" y="259"/>
                  <a:pt x="1116" y="260"/>
                </a:cubicBezTo>
                <a:cubicBezTo>
                  <a:pt x="1116" y="260"/>
                  <a:pt x="1116" y="260"/>
                  <a:pt x="1116" y="260"/>
                </a:cubicBezTo>
                <a:cubicBezTo>
                  <a:pt x="1111" y="269"/>
                  <a:pt x="1105" y="278"/>
                  <a:pt x="1097" y="287"/>
                </a:cubicBezTo>
                <a:cubicBezTo>
                  <a:pt x="1097" y="287"/>
                  <a:pt x="1097" y="287"/>
                  <a:pt x="1096" y="287"/>
                </a:cubicBezTo>
                <a:cubicBezTo>
                  <a:pt x="1095" y="289"/>
                  <a:pt x="1094" y="291"/>
                  <a:pt x="1092" y="292"/>
                </a:cubicBezTo>
                <a:cubicBezTo>
                  <a:pt x="1092" y="292"/>
                  <a:pt x="1092" y="292"/>
                  <a:pt x="1092" y="292"/>
                </a:cubicBezTo>
                <a:cubicBezTo>
                  <a:pt x="1091" y="294"/>
                  <a:pt x="1089" y="296"/>
                  <a:pt x="1088" y="297"/>
                </a:cubicBezTo>
                <a:cubicBezTo>
                  <a:pt x="1088" y="297"/>
                  <a:pt x="1088" y="297"/>
                  <a:pt x="1088" y="298"/>
                </a:cubicBezTo>
                <a:cubicBezTo>
                  <a:pt x="1077" y="309"/>
                  <a:pt x="1064" y="322"/>
                  <a:pt x="1048" y="336"/>
                </a:cubicBezTo>
                <a:cubicBezTo>
                  <a:pt x="1048" y="336"/>
                  <a:pt x="1048" y="336"/>
                  <a:pt x="1048" y="336"/>
                </a:cubicBezTo>
                <a:cubicBezTo>
                  <a:pt x="1040" y="343"/>
                  <a:pt x="1031" y="350"/>
                  <a:pt x="1021" y="358"/>
                </a:cubicBezTo>
                <a:cubicBezTo>
                  <a:pt x="930" y="429"/>
                  <a:pt x="799" y="500"/>
                  <a:pt x="651" y="556"/>
                </a:cubicBezTo>
                <a:cubicBezTo>
                  <a:pt x="585" y="582"/>
                  <a:pt x="519" y="603"/>
                  <a:pt x="456" y="619"/>
                </a:cubicBezTo>
                <a:cubicBezTo>
                  <a:pt x="456" y="639"/>
                  <a:pt x="455" y="661"/>
                  <a:pt x="450" y="683"/>
                </a:cubicBezTo>
                <a:cubicBezTo>
                  <a:pt x="522" y="665"/>
                  <a:pt x="597" y="641"/>
                  <a:pt x="673" y="612"/>
                </a:cubicBezTo>
                <a:cubicBezTo>
                  <a:pt x="825" y="554"/>
                  <a:pt x="962" y="480"/>
                  <a:pt x="1058" y="405"/>
                </a:cubicBezTo>
                <a:cubicBezTo>
                  <a:pt x="1058" y="405"/>
                  <a:pt x="1058" y="405"/>
                  <a:pt x="1058" y="405"/>
                </a:cubicBezTo>
                <a:cubicBezTo>
                  <a:pt x="1165" y="322"/>
                  <a:pt x="1209" y="246"/>
                  <a:pt x="1186" y="186"/>
                </a:cubicBezTo>
                <a:close/>
              </a:path>
            </a:pathLst>
          </a:custGeom>
          <a:solidFill>
            <a:schemeClr val="bg1">
              <a:lumMod val="75000"/>
            </a:schemeClr>
          </a:solidFill>
          <a:ln>
            <a:noFill/>
          </a:ln>
        </p:spPr>
        <p:txBody>
          <a:bodyPr vert="horz" wrap="square" lIns="67209" tIns="33605" rIns="67209" bIns="33605" numCol="1" anchor="b" anchorCtr="0" compatLnSpc="1">
            <a:prstTxWarp prst="textNoShape">
              <a:avLst/>
            </a:prstTxWarp>
          </a:bodyPr>
          <a:lstStyle/>
          <a:p>
            <a:pPr defTabSz="672156">
              <a:defRPr/>
            </a:pPr>
            <a:endParaRPr lang="en-US" sz="1350" kern="0">
              <a:gradFill>
                <a:gsLst>
                  <a:gs pos="0">
                    <a:srgbClr val="FFFFFF"/>
                  </a:gs>
                  <a:gs pos="100000">
                    <a:srgbClr val="FFFFFF"/>
                  </a:gs>
                </a:gsLst>
                <a:lin ang="5400000" scaled="0"/>
              </a:gradFill>
            </a:endParaRPr>
          </a:p>
        </p:txBody>
      </p:sp>
      <p:sp>
        <p:nvSpPr>
          <p:cNvPr id="20" name="TextBox 19"/>
          <p:cNvSpPr txBox="1"/>
          <p:nvPr/>
        </p:nvSpPr>
        <p:spPr>
          <a:xfrm>
            <a:off x="2609851" y="1198863"/>
            <a:ext cx="3600450" cy="1403461"/>
          </a:xfrm>
          <a:prstGeom prst="rect">
            <a:avLst/>
          </a:prstGeom>
          <a:noFill/>
        </p:spPr>
        <p:txBody>
          <a:bodyPr wrap="square" lIns="182880" tIns="146304" rIns="182880" bIns="146304" rtlCol="0">
            <a:spAutoFit/>
          </a:bodyPr>
          <a:lstStyle/>
          <a:p>
            <a:pPr marL="342900" indent="-342900">
              <a:lnSpc>
                <a:spcPct val="90000"/>
              </a:lnSpc>
              <a:buFont typeface="Wingdings" panose="05000000000000000000" pitchFamily="2" charset="2"/>
              <a:buChar char="§"/>
            </a:pPr>
            <a:r>
              <a:rPr lang="en-US" sz="2000" dirty="0">
                <a:gradFill>
                  <a:gsLst>
                    <a:gs pos="2917">
                      <a:schemeClr val="tx1"/>
                    </a:gs>
                    <a:gs pos="30000">
                      <a:schemeClr val="tx1"/>
                    </a:gs>
                  </a:gsLst>
                  <a:lin ang="5400000" scaled="0"/>
                </a:gradFill>
              </a:rPr>
              <a:t>Fuzzing</a:t>
            </a:r>
          </a:p>
          <a:p>
            <a:pPr marL="342900" indent="-342900">
              <a:lnSpc>
                <a:spcPct val="90000"/>
              </a:lnSpc>
              <a:buFont typeface="Wingdings" panose="05000000000000000000" pitchFamily="2" charset="2"/>
              <a:buChar char="§"/>
            </a:pPr>
            <a:r>
              <a:rPr lang="en-US" sz="2000" dirty="0">
                <a:gradFill>
                  <a:gsLst>
                    <a:gs pos="2917">
                      <a:schemeClr val="tx1"/>
                    </a:gs>
                    <a:gs pos="30000">
                      <a:schemeClr val="tx1"/>
                    </a:gs>
                  </a:gsLst>
                  <a:lin ang="5400000" scaled="0"/>
                </a:gradFill>
              </a:rPr>
              <a:t>Buffer Overflow</a:t>
            </a:r>
          </a:p>
          <a:p>
            <a:pPr marL="342900" indent="-342900">
              <a:lnSpc>
                <a:spcPct val="90000"/>
              </a:lnSpc>
              <a:buFont typeface="Wingdings" panose="05000000000000000000" pitchFamily="2" charset="2"/>
              <a:buChar char="§"/>
            </a:pPr>
            <a:r>
              <a:rPr lang="en-US" sz="2000" dirty="0">
                <a:solidFill>
                  <a:schemeClr val="tx2"/>
                </a:solidFill>
              </a:rPr>
              <a:t>Password Cracking</a:t>
            </a:r>
          </a:p>
          <a:p>
            <a:pPr marL="342900" indent="-342900">
              <a:lnSpc>
                <a:spcPct val="90000"/>
              </a:lnSpc>
              <a:buFont typeface="Wingdings" panose="05000000000000000000" pitchFamily="2" charset="2"/>
              <a:buChar char="§"/>
            </a:pPr>
            <a:r>
              <a:rPr lang="en-US" sz="2000" dirty="0">
                <a:gradFill>
                  <a:gsLst>
                    <a:gs pos="2917">
                      <a:schemeClr val="tx1"/>
                    </a:gs>
                    <a:gs pos="30000">
                      <a:schemeClr val="tx1"/>
                    </a:gs>
                  </a:gsLst>
                  <a:lin ang="5400000" scaled="0"/>
                </a:gradFill>
              </a:rPr>
              <a:t>Cross-site Scripting (XSS)</a:t>
            </a:r>
          </a:p>
        </p:txBody>
      </p:sp>
      <p:sp>
        <p:nvSpPr>
          <p:cNvPr id="21" name="TextBox 20"/>
          <p:cNvSpPr txBox="1"/>
          <p:nvPr/>
        </p:nvSpPr>
        <p:spPr>
          <a:xfrm>
            <a:off x="2609850" y="2584679"/>
            <a:ext cx="2171701" cy="926407"/>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rPr>
              <a:t>Tailgating</a:t>
            </a:r>
          </a:p>
          <a:p>
            <a:pPr marL="342900" indent="-342900">
              <a:lnSpc>
                <a:spcPct val="90000"/>
              </a:lnSpc>
              <a:spcAft>
                <a:spcPts val="600"/>
              </a:spcAft>
              <a:buFont typeface="Wingdings" panose="05000000000000000000" pitchFamily="2" charset="2"/>
              <a:buChar char="§"/>
            </a:pPr>
            <a:r>
              <a:rPr lang="en-US" sz="2000" dirty="0">
                <a:solidFill>
                  <a:schemeClr val="tx2"/>
                </a:solidFill>
              </a:rPr>
              <a:t>Phishing</a:t>
            </a:r>
          </a:p>
        </p:txBody>
      </p:sp>
      <p:sp>
        <p:nvSpPr>
          <p:cNvPr id="22" name="TextBox 21"/>
          <p:cNvSpPr txBox="1"/>
          <p:nvPr/>
        </p:nvSpPr>
        <p:spPr>
          <a:xfrm>
            <a:off x="2609851" y="3964006"/>
            <a:ext cx="2990850" cy="1280351"/>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rPr>
              <a:t>Middleman Attack</a:t>
            </a:r>
          </a:p>
          <a:p>
            <a:pPr marL="342900" indent="-342900">
              <a:lnSpc>
                <a:spcPct val="90000"/>
              </a:lnSpc>
              <a:spcAft>
                <a:spcPts val="600"/>
              </a:spcAft>
              <a:buFont typeface="Wingdings" panose="05000000000000000000" pitchFamily="2" charset="2"/>
              <a:buChar char="§"/>
            </a:pPr>
            <a:r>
              <a:rPr lang="en-US" sz="2000" dirty="0">
                <a:solidFill>
                  <a:schemeClr val="tx2"/>
                </a:solidFill>
              </a:rPr>
              <a:t>Radio Frequency</a:t>
            </a:r>
          </a:p>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rPr>
              <a:t>Denial-of-Service</a:t>
            </a:r>
          </a:p>
        </p:txBody>
      </p:sp>
      <p:sp>
        <p:nvSpPr>
          <p:cNvPr id="23" name="TextBox 22"/>
          <p:cNvSpPr txBox="1"/>
          <p:nvPr/>
        </p:nvSpPr>
        <p:spPr>
          <a:xfrm>
            <a:off x="2609851" y="5308301"/>
            <a:ext cx="3219450" cy="1280351"/>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
            </a:pPr>
            <a:r>
              <a:rPr lang="en-US" sz="2000" dirty="0">
                <a:solidFill>
                  <a:schemeClr val="tx2"/>
                </a:solidFill>
              </a:rPr>
              <a:t>Physical Modification</a:t>
            </a:r>
          </a:p>
          <a:p>
            <a:pPr marL="342900" indent="-342900">
              <a:lnSpc>
                <a:spcPct val="90000"/>
              </a:lnSpc>
              <a:spcAft>
                <a:spcPts val="600"/>
              </a:spcAft>
              <a:buFont typeface="Wingdings" panose="05000000000000000000" pitchFamily="2" charset="2"/>
              <a:buChar char="§"/>
            </a:pPr>
            <a:r>
              <a:rPr lang="en-US" sz="2000" dirty="0" err="1">
                <a:gradFill>
                  <a:gsLst>
                    <a:gs pos="2917">
                      <a:schemeClr val="tx1"/>
                    </a:gs>
                    <a:gs pos="30000">
                      <a:schemeClr val="tx1"/>
                    </a:gs>
                  </a:gsLst>
                  <a:lin ang="5400000" scaled="0"/>
                </a:gradFill>
              </a:rPr>
              <a:t>Glitching</a:t>
            </a:r>
            <a:endParaRPr lang="en-US" sz="2000" dirty="0">
              <a:gradFill>
                <a:gsLst>
                  <a:gs pos="2917">
                    <a:schemeClr val="tx1"/>
                  </a:gs>
                  <a:gs pos="30000">
                    <a:schemeClr val="tx1"/>
                  </a:gs>
                </a:gsLst>
                <a:lin ang="5400000" scaled="0"/>
              </a:gradFill>
            </a:endParaRPr>
          </a:p>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rPr>
              <a:t>JTAG/Debugging Port</a:t>
            </a:r>
          </a:p>
        </p:txBody>
      </p:sp>
      <p:sp>
        <p:nvSpPr>
          <p:cNvPr id="30" name="TextBox 29"/>
          <p:cNvSpPr txBox="1"/>
          <p:nvPr/>
        </p:nvSpPr>
        <p:spPr>
          <a:xfrm>
            <a:off x="495300" y="1586661"/>
            <a:ext cx="217170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Software</a:t>
            </a:r>
          </a:p>
        </p:txBody>
      </p:sp>
      <p:sp>
        <p:nvSpPr>
          <p:cNvPr id="31" name="TextBox 30"/>
          <p:cNvSpPr txBox="1"/>
          <p:nvPr/>
        </p:nvSpPr>
        <p:spPr>
          <a:xfrm>
            <a:off x="495300" y="2730584"/>
            <a:ext cx="2171700"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Social Engineering</a:t>
            </a:r>
          </a:p>
        </p:txBody>
      </p:sp>
      <p:sp>
        <p:nvSpPr>
          <p:cNvPr id="32" name="TextBox 31"/>
          <p:cNvSpPr txBox="1"/>
          <p:nvPr/>
        </p:nvSpPr>
        <p:spPr>
          <a:xfrm>
            <a:off x="519234" y="4273076"/>
            <a:ext cx="217170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Network</a:t>
            </a:r>
          </a:p>
        </p:txBody>
      </p:sp>
      <p:sp>
        <p:nvSpPr>
          <p:cNvPr id="33" name="TextBox 32"/>
          <p:cNvSpPr txBox="1"/>
          <p:nvPr/>
        </p:nvSpPr>
        <p:spPr>
          <a:xfrm>
            <a:off x="495300" y="5614027"/>
            <a:ext cx="217170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Hardware</a:t>
            </a:r>
          </a:p>
        </p:txBody>
      </p:sp>
    </p:spTree>
    <p:extLst>
      <p:ext uri="{BB962C8B-B14F-4D97-AF65-F5344CB8AC3E}">
        <p14:creationId xmlns:p14="http://schemas.microsoft.com/office/powerpoint/2010/main" val="111021181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flipV="1">
            <a:off x="-1051" y="2165590"/>
            <a:ext cx="12192000" cy="781634"/>
          </a:xfrm>
          <a:prstGeom prst="rect">
            <a:avLst/>
          </a:prstGeom>
          <a:solidFill>
            <a:schemeClr val="tx1">
              <a:lumMod val="40000"/>
              <a:lumOff val="60000"/>
            </a:schemeClr>
          </a:solidFill>
          <a:ln>
            <a:solidFill>
              <a:schemeClr val="tx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165722" y="830255"/>
            <a:ext cx="11307709" cy="650256"/>
          </a:xfrm>
          <a:prstGeom prst="rect">
            <a:avLst/>
          </a:prstGeom>
          <a:solidFill>
            <a:schemeClr val="bg1"/>
          </a:solidFill>
          <a:ln w="10000" cap="flat" cmpd="sng" algn="ctr">
            <a:noFill/>
            <a:prstDash val="solid"/>
            <a:headEnd type="none" w="med" len="med"/>
            <a:tailEnd type="none" w="med" len="med"/>
          </a:ln>
          <a:effectLst/>
        </p:spPr>
        <p:txBody>
          <a:bodyPr rot="0" spcFirstLastPara="0" vertOverflow="overflow" horzOverflow="overflow" vert="horz" wrap="square" lIns="268927" tIns="268927" rIns="179285" bIns="89642" numCol="1" spcCol="0" rtlCol="0" fromWordArt="0" anchor="t" anchorCtr="0" forceAA="0" compatLnSpc="1">
            <a:prstTxWarp prst="textNoShape">
              <a:avLst/>
            </a:prstTxWarp>
            <a:noAutofit/>
          </a:bodyPr>
          <a:lstStyle/>
          <a:p>
            <a:pPr lvl="0" defTabSz="896010">
              <a:lnSpc>
                <a:spcPct val="90000"/>
              </a:lnSpc>
              <a:spcBef>
                <a:spcPts val="600"/>
              </a:spcBef>
              <a:defRPr/>
            </a:pPr>
            <a:r>
              <a:rPr lang="en-US" sz="2400" dirty="0">
                <a:gradFill>
                  <a:gsLst>
                    <a:gs pos="1250">
                      <a:schemeClr val="tx1"/>
                    </a:gs>
                    <a:gs pos="100000">
                      <a:schemeClr val="tx1"/>
                    </a:gs>
                  </a:gsLst>
                  <a:lin ang="5400000" scaled="0"/>
                </a:gradFill>
                <a:latin typeface="+mj-lt"/>
              </a:rPr>
              <a:t>Phishing is one of the most common attack vectors for hackers because of simplicity and scalability</a:t>
            </a:r>
            <a:endParaRPr lang="en-US" sz="2800" dirty="0">
              <a:gradFill>
                <a:gsLst>
                  <a:gs pos="1250">
                    <a:schemeClr val="tx1"/>
                  </a:gs>
                  <a:gs pos="100000">
                    <a:schemeClr val="tx1"/>
                  </a:gs>
                </a:gsLst>
                <a:lin ang="5400000" scaled="0"/>
              </a:gradFill>
              <a:latin typeface="+mj-lt"/>
            </a:endParaRPr>
          </a:p>
        </p:txBody>
      </p:sp>
      <p:sp>
        <p:nvSpPr>
          <p:cNvPr id="2" name="Rectangle 1"/>
          <p:cNvSpPr/>
          <p:nvPr/>
        </p:nvSpPr>
        <p:spPr bwMode="auto">
          <a:xfrm>
            <a:off x="774405" y="2168694"/>
            <a:ext cx="3342713" cy="3619500"/>
          </a:xfrm>
          <a:prstGeom prst="rect">
            <a:avLst/>
          </a:prstGeom>
          <a:solidFill>
            <a:schemeClr val="bg1">
              <a:lumMod val="95000"/>
            </a:schemeClr>
          </a:solidFill>
          <a:ln>
            <a:solidFill>
              <a:schemeClr val="tx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504321" y="2168694"/>
            <a:ext cx="3342713" cy="3619500"/>
          </a:xfrm>
          <a:prstGeom prst="rect">
            <a:avLst/>
          </a:prstGeom>
          <a:solidFill>
            <a:schemeClr val="bg1">
              <a:lumMod val="95000"/>
            </a:schemeClr>
          </a:solidFill>
          <a:ln>
            <a:solidFill>
              <a:schemeClr val="tx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8234236" y="2168694"/>
            <a:ext cx="3342713" cy="3619500"/>
          </a:xfrm>
          <a:prstGeom prst="rect">
            <a:avLst/>
          </a:prstGeom>
          <a:solidFill>
            <a:schemeClr val="bg1">
              <a:lumMod val="95000"/>
            </a:schemeClr>
          </a:solidFill>
          <a:ln>
            <a:solidFill>
              <a:schemeClr val="tx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sz="4800" dirty="0"/>
              <a:t>Phishing and SpearPhishing</a:t>
            </a:r>
          </a:p>
        </p:txBody>
      </p:sp>
      <p:sp>
        <p:nvSpPr>
          <p:cNvPr id="10" name="Oval 9"/>
          <p:cNvSpPr/>
          <p:nvPr/>
        </p:nvSpPr>
        <p:spPr bwMode="auto">
          <a:xfrm>
            <a:off x="602955" y="2051497"/>
            <a:ext cx="616245" cy="616245"/>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11" name="Oval 10"/>
          <p:cNvSpPr/>
          <p:nvPr/>
        </p:nvSpPr>
        <p:spPr bwMode="auto">
          <a:xfrm>
            <a:off x="4380495" y="2074209"/>
            <a:ext cx="616245" cy="616245"/>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12" name="Oval 11"/>
          <p:cNvSpPr/>
          <p:nvPr/>
        </p:nvSpPr>
        <p:spPr bwMode="auto">
          <a:xfrm>
            <a:off x="8158035" y="2052502"/>
            <a:ext cx="616245" cy="616245"/>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13" name="Rectangle 12"/>
          <p:cNvSpPr/>
          <p:nvPr/>
        </p:nvSpPr>
        <p:spPr>
          <a:xfrm>
            <a:off x="982012" y="2694541"/>
            <a:ext cx="3011281" cy="923330"/>
          </a:xfrm>
          <a:prstGeom prst="rect">
            <a:avLst/>
          </a:prstGeom>
        </p:spPr>
        <p:txBody>
          <a:bodyPr wrap="square">
            <a:spAutoFit/>
          </a:bodyPr>
          <a:lstStyle/>
          <a:p>
            <a:r>
              <a:rPr lang="en-US" dirty="0"/>
              <a:t>Emails are sent to large # of targets impersonating another company</a:t>
            </a:r>
          </a:p>
        </p:txBody>
      </p:sp>
      <p:sp>
        <p:nvSpPr>
          <p:cNvPr id="14" name="Rectangle 13"/>
          <p:cNvSpPr/>
          <p:nvPr/>
        </p:nvSpPr>
        <p:spPr>
          <a:xfrm>
            <a:off x="4688617" y="2694541"/>
            <a:ext cx="3158417" cy="923330"/>
          </a:xfrm>
          <a:prstGeom prst="rect">
            <a:avLst/>
          </a:prstGeom>
        </p:spPr>
        <p:txBody>
          <a:bodyPr wrap="square">
            <a:spAutoFit/>
          </a:bodyPr>
          <a:lstStyle/>
          <a:p>
            <a:r>
              <a:rPr lang="en-US" dirty="0"/>
              <a:t>End users believe the legitimacy of the sender and clicking on embedded links</a:t>
            </a:r>
          </a:p>
        </p:txBody>
      </p:sp>
      <p:sp>
        <p:nvSpPr>
          <p:cNvPr id="15" name="Rectangle 14"/>
          <p:cNvSpPr/>
          <p:nvPr/>
        </p:nvSpPr>
        <p:spPr>
          <a:xfrm>
            <a:off x="8323282" y="2690454"/>
            <a:ext cx="3426682" cy="1200329"/>
          </a:xfrm>
          <a:prstGeom prst="rect">
            <a:avLst/>
          </a:prstGeom>
        </p:spPr>
        <p:txBody>
          <a:bodyPr wrap="square">
            <a:spAutoFit/>
          </a:bodyPr>
          <a:lstStyle/>
          <a:p>
            <a:r>
              <a:rPr lang="en-US" dirty="0"/>
              <a:t>Target may (1) share personal information, such as bank login or (2) click links that download dangerous programs</a:t>
            </a:r>
          </a:p>
        </p:txBody>
      </p:sp>
      <p:sp>
        <p:nvSpPr>
          <p:cNvPr id="20" name="Freeform 5"/>
          <p:cNvSpPr>
            <a:spLocks noEditPoints="1"/>
          </p:cNvSpPr>
          <p:nvPr/>
        </p:nvSpPr>
        <p:spPr bwMode="auto">
          <a:xfrm>
            <a:off x="1123950" y="4101704"/>
            <a:ext cx="445296" cy="478892"/>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solidFill>
            <a:schemeClr val="accent3"/>
          </a:solid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sp>
        <p:nvSpPr>
          <p:cNvPr id="21" name="Freeform 5"/>
          <p:cNvSpPr>
            <a:spLocks noChangeAspect="1" noEditPoints="1"/>
          </p:cNvSpPr>
          <p:nvPr/>
        </p:nvSpPr>
        <p:spPr bwMode="auto">
          <a:xfrm flipH="1">
            <a:off x="3242507" y="4158270"/>
            <a:ext cx="340101" cy="365760"/>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solidFill>
            <a:schemeClr val="bg1">
              <a:lumMod val="65000"/>
            </a:schemeClr>
          </a:solid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sp>
        <p:nvSpPr>
          <p:cNvPr id="22" name="Freeform 5"/>
          <p:cNvSpPr>
            <a:spLocks noChangeAspect="1" noEditPoints="1"/>
          </p:cNvSpPr>
          <p:nvPr/>
        </p:nvSpPr>
        <p:spPr bwMode="auto">
          <a:xfrm flipH="1">
            <a:off x="3524995" y="4651077"/>
            <a:ext cx="340101" cy="365760"/>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solidFill>
            <a:schemeClr val="bg1">
              <a:lumMod val="65000"/>
            </a:schemeClr>
          </a:solid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sp>
        <p:nvSpPr>
          <p:cNvPr id="23" name="Freeform 5"/>
          <p:cNvSpPr>
            <a:spLocks noChangeAspect="1" noEditPoints="1"/>
          </p:cNvSpPr>
          <p:nvPr/>
        </p:nvSpPr>
        <p:spPr bwMode="auto">
          <a:xfrm flipH="1">
            <a:off x="2785641" y="4595957"/>
            <a:ext cx="340101" cy="365760"/>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solidFill>
            <a:schemeClr val="bg1">
              <a:lumMod val="65000"/>
            </a:schemeClr>
          </a:solid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sp>
        <p:nvSpPr>
          <p:cNvPr id="24" name="Freeform 5"/>
          <p:cNvSpPr>
            <a:spLocks noChangeAspect="1" noEditPoints="1"/>
          </p:cNvSpPr>
          <p:nvPr/>
        </p:nvSpPr>
        <p:spPr bwMode="auto">
          <a:xfrm flipH="1">
            <a:off x="2938041" y="4748357"/>
            <a:ext cx="340101" cy="365760"/>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solidFill>
            <a:schemeClr val="bg1">
              <a:lumMod val="65000"/>
            </a:schemeClr>
          </a:solid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sp>
        <p:nvSpPr>
          <p:cNvPr id="25" name="Freeform 5"/>
          <p:cNvSpPr>
            <a:spLocks noChangeAspect="1" noEditPoints="1"/>
          </p:cNvSpPr>
          <p:nvPr/>
        </p:nvSpPr>
        <p:spPr bwMode="auto">
          <a:xfrm flipH="1">
            <a:off x="2414350" y="4946612"/>
            <a:ext cx="340101" cy="365760"/>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solidFill>
            <a:schemeClr val="bg1">
              <a:lumMod val="65000"/>
            </a:schemeClr>
          </a:solid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sp>
        <p:nvSpPr>
          <p:cNvPr id="26" name="Freeform 5"/>
          <p:cNvSpPr>
            <a:spLocks noChangeAspect="1" noEditPoints="1"/>
          </p:cNvSpPr>
          <p:nvPr/>
        </p:nvSpPr>
        <p:spPr bwMode="auto">
          <a:xfrm flipH="1">
            <a:off x="3267369" y="4535302"/>
            <a:ext cx="340101" cy="365760"/>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solidFill>
            <a:schemeClr val="bg1">
              <a:lumMod val="65000"/>
            </a:schemeClr>
          </a:solid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sp>
        <p:nvSpPr>
          <p:cNvPr id="27" name="Freeform 5"/>
          <p:cNvSpPr>
            <a:spLocks noChangeAspect="1" noEditPoints="1"/>
          </p:cNvSpPr>
          <p:nvPr/>
        </p:nvSpPr>
        <p:spPr bwMode="auto">
          <a:xfrm flipH="1">
            <a:off x="3549857" y="5028109"/>
            <a:ext cx="340101" cy="365760"/>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solidFill>
            <a:schemeClr val="bg1">
              <a:lumMod val="65000"/>
            </a:schemeClr>
          </a:solid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sp>
        <p:nvSpPr>
          <p:cNvPr id="28" name="Freeform 5"/>
          <p:cNvSpPr>
            <a:spLocks noChangeAspect="1" noEditPoints="1"/>
          </p:cNvSpPr>
          <p:nvPr/>
        </p:nvSpPr>
        <p:spPr bwMode="auto">
          <a:xfrm flipH="1">
            <a:off x="2810503" y="4972989"/>
            <a:ext cx="340101" cy="365760"/>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solidFill>
            <a:schemeClr val="bg1">
              <a:lumMod val="65000"/>
            </a:schemeClr>
          </a:solid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sp>
        <p:nvSpPr>
          <p:cNvPr id="29" name="Freeform 5"/>
          <p:cNvSpPr>
            <a:spLocks noChangeAspect="1" noEditPoints="1"/>
          </p:cNvSpPr>
          <p:nvPr/>
        </p:nvSpPr>
        <p:spPr bwMode="auto">
          <a:xfrm flipH="1">
            <a:off x="2962903" y="5125389"/>
            <a:ext cx="340101" cy="365760"/>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solidFill>
            <a:schemeClr val="bg1">
              <a:lumMod val="65000"/>
            </a:schemeClr>
          </a:solid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sp>
        <p:nvSpPr>
          <p:cNvPr id="30" name="Freeform 5"/>
          <p:cNvSpPr>
            <a:spLocks noChangeAspect="1" noEditPoints="1"/>
          </p:cNvSpPr>
          <p:nvPr/>
        </p:nvSpPr>
        <p:spPr bwMode="auto">
          <a:xfrm flipH="1">
            <a:off x="2645914" y="5262549"/>
            <a:ext cx="340101" cy="365760"/>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solidFill>
            <a:schemeClr val="bg1">
              <a:lumMod val="65000"/>
            </a:schemeClr>
          </a:solid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pic>
        <p:nvPicPr>
          <p:cNvPr id="33" name="Picture 32"/>
          <p:cNvPicPr>
            <a:picLocks noChangeAspect="1"/>
          </p:cNvPicPr>
          <p:nvPr/>
        </p:nvPicPr>
        <p:blipFill>
          <a:blip r:embed="rId3"/>
          <a:stretch>
            <a:fillRect/>
          </a:stretch>
        </p:blipFill>
        <p:spPr>
          <a:xfrm>
            <a:off x="4758790" y="3890783"/>
            <a:ext cx="2833773" cy="1478490"/>
          </a:xfrm>
          <a:prstGeom prst="rect">
            <a:avLst/>
          </a:prstGeom>
        </p:spPr>
      </p:pic>
      <p:pic>
        <p:nvPicPr>
          <p:cNvPr id="20482" name="Picture 2" descr="https://www.wifipineapple.com/assets/img/icons/flat/intercept.png"/>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82012" y="3846476"/>
            <a:ext cx="826437" cy="826437"/>
          </a:xfrm>
          <a:prstGeom prst="rect">
            <a:avLst/>
          </a:prstGeom>
          <a:noFill/>
          <a:extLst>
            <a:ext uri="{909E8E84-426E-40DD-AFC4-6F175D3DCCD1}">
              <a14:hiddenFill xmlns:a14="http://schemas.microsoft.com/office/drawing/2010/main">
                <a:solidFill>
                  <a:srgbClr val="FFFFFF"/>
                </a:solidFill>
              </a14:hiddenFill>
            </a:ext>
          </a:extLst>
        </p:spPr>
      </p:pic>
      <p:cxnSp>
        <p:nvCxnSpPr>
          <p:cNvPr id="36" name="Straight Arrow Connector 35"/>
          <p:cNvCxnSpPr/>
          <p:nvPr/>
        </p:nvCxnSpPr>
        <p:spPr>
          <a:xfrm>
            <a:off x="1943100" y="4259694"/>
            <a:ext cx="867403" cy="81456"/>
          </a:xfrm>
          <a:prstGeom prst="straightConnector1">
            <a:avLst/>
          </a:prstGeom>
          <a:ln w="28575">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1827341" y="4513161"/>
            <a:ext cx="667684" cy="191104"/>
          </a:xfrm>
          <a:prstGeom prst="straightConnector1">
            <a:avLst/>
          </a:prstGeom>
          <a:ln w="28575">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1661847" y="4704265"/>
            <a:ext cx="437218" cy="268724"/>
          </a:xfrm>
          <a:prstGeom prst="straightConnector1">
            <a:avLst/>
          </a:prstGeom>
          <a:ln w="28575">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527" name="Rounded Rectangle 20526"/>
          <p:cNvSpPr/>
          <p:nvPr/>
        </p:nvSpPr>
        <p:spPr bwMode="auto">
          <a:xfrm>
            <a:off x="8542633" y="4048769"/>
            <a:ext cx="2725917" cy="1558385"/>
          </a:xfrm>
          <a:prstGeom prst="roundRect">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5"/>
          <p:cNvGrpSpPr/>
          <p:nvPr/>
        </p:nvGrpSpPr>
        <p:grpSpPr>
          <a:xfrm>
            <a:off x="10335094" y="4214171"/>
            <a:ext cx="911293" cy="1129332"/>
            <a:chOff x="10541554" y="4431520"/>
            <a:chExt cx="911293" cy="1129332"/>
          </a:xfrm>
        </p:grpSpPr>
        <p:pic>
          <p:nvPicPr>
            <p:cNvPr id="34" name="Picture 6"/>
            <p:cNvPicPr>
              <a:picLocks noChangeAspect="1"/>
            </p:cNvPicPr>
            <p:nvPr/>
          </p:nvPicPr>
          <p:blipFill>
            <a:blip r:embed="rId5"/>
            <a:stretch>
              <a:fillRect/>
            </a:stretch>
          </p:blipFill>
          <p:spPr>
            <a:xfrm>
              <a:off x="11214137" y="5030413"/>
              <a:ext cx="238710" cy="286452"/>
            </a:xfrm>
            <a:prstGeom prst="rect">
              <a:avLst/>
            </a:prstGeom>
          </p:spPr>
        </p:pic>
        <p:sp>
          <p:nvSpPr>
            <p:cNvPr id="31" name="Freeform 159"/>
            <p:cNvSpPr>
              <a:spLocks noEditPoints="1"/>
            </p:cNvSpPr>
            <p:nvPr/>
          </p:nvSpPr>
          <p:spPr bwMode="black">
            <a:xfrm>
              <a:off x="10541554" y="4431520"/>
              <a:ext cx="750775" cy="1129332"/>
            </a:xfrm>
            <a:custGeom>
              <a:avLst/>
              <a:gdLst>
                <a:gd name="T0" fmla="*/ 101 w 283"/>
                <a:gd name="T1" fmla="*/ 50 h 426"/>
                <a:gd name="T2" fmla="*/ 202 w 283"/>
                <a:gd name="T3" fmla="*/ 50 h 426"/>
                <a:gd name="T4" fmla="*/ 271 w 283"/>
                <a:gd name="T5" fmla="*/ 254 h 426"/>
                <a:gd name="T6" fmla="*/ 274 w 283"/>
                <a:gd name="T7" fmla="*/ 266 h 426"/>
                <a:gd name="T8" fmla="*/ 204 w 283"/>
                <a:gd name="T9" fmla="*/ 298 h 426"/>
                <a:gd name="T10" fmla="*/ 210 w 283"/>
                <a:gd name="T11" fmla="*/ 426 h 426"/>
                <a:gd name="T12" fmla="*/ 179 w 283"/>
                <a:gd name="T13" fmla="*/ 407 h 426"/>
                <a:gd name="T14" fmla="*/ 141 w 283"/>
                <a:gd name="T15" fmla="*/ 315 h 426"/>
                <a:gd name="T16" fmla="*/ 94 w 283"/>
                <a:gd name="T17" fmla="*/ 426 h 426"/>
                <a:gd name="T18" fmla="*/ 70 w 283"/>
                <a:gd name="T19" fmla="*/ 395 h 426"/>
                <a:gd name="T20" fmla="*/ 54 w 283"/>
                <a:gd name="T21" fmla="*/ 338 h 426"/>
                <a:gd name="T22" fmla="*/ 34 w 283"/>
                <a:gd name="T23" fmla="*/ 326 h 426"/>
                <a:gd name="T24" fmla="*/ 0 w 283"/>
                <a:gd name="T25" fmla="*/ 198 h 426"/>
                <a:gd name="T26" fmla="*/ 49 w 283"/>
                <a:gd name="T27" fmla="*/ 172 h 426"/>
                <a:gd name="T28" fmla="*/ 110 w 283"/>
                <a:gd name="T29" fmla="*/ 125 h 426"/>
                <a:gd name="T30" fmla="*/ 195 w 283"/>
                <a:gd name="T31" fmla="*/ 133 h 426"/>
                <a:gd name="T32" fmla="*/ 224 w 283"/>
                <a:gd name="T33" fmla="*/ 126 h 426"/>
                <a:gd name="T34" fmla="*/ 261 w 283"/>
                <a:gd name="T35" fmla="*/ 215 h 426"/>
                <a:gd name="T36" fmla="*/ 283 w 283"/>
                <a:gd name="T37" fmla="*/ 235 h 426"/>
                <a:gd name="T38" fmla="*/ 86 w 283"/>
                <a:gd name="T39" fmla="*/ 208 h 426"/>
                <a:gd name="T40" fmla="*/ 230 w 283"/>
                <a:gd name="T41" fmla="*/ 141 h 426"/>
                <a:gd name="T42" fmla="*/ 222 w 283"/>
                <a:gd name="T43" fmla="*/ 136 h 426"/>
                <a:gd name="T44" fmla="*/ 86 w 283"/>
                <a:gd name="T45" fmla="*/ 194 h 426"/>
                <a:gd name="T46" fmla="*/ 17 w 283"/>
                <a:gd name="T47" fmla="*/ 226 h 426"/>
                <a:gd name="T48" fmla="*/ 46 w 283"/>
                <a:gd name="T49" fmla="*/ 183 h 426"/>
                <a:gd name="T50" fmla="*/ 10 w 283"/>
                <a:gd name="T51" fmla="*/ 198 h 426"/>
                <a:gd name="T52" fmla="*/ 17 w 283"/>
                <a:gd name="T53" fmla="*/ 226 h 426"/>
                <a:gd name="T54" fmla="*/ 263 w 283"/>
                <a:gd name="T55" fmla="*/ 264 h 426"/>
                <a:gd name="T56" fmla="*/ 86 w 283"/>
                <a:gd name="T57" fmla="*/ 244 h 426"/>
                <a:gd name="T58" fmla="*/ 86 w 283"/>
                <a:gd name="T59" fmla="*/ 246 h 426"/>
                <a:gd name="T60" fmla="*/ 48 w 283"/>
                <a:gd name="T61" fmla="*/ 255 h 426"/>
                <a:gd name="T62" fmla="*/ 43 w 283"/>
                <a:gd name="T63" fmla="*/ 323 h 426"/>
                <a:gd name="T64" fmla="*/ 52 w 283"/>
                <a:gd name="T65" fmla="*/ 328 h 426"/>
                <a:gd name="T66" fmla="*/ 264 w 283"/>
                <a:gd name="T67" fmla="*/ 266 h 426"/>
                <a:gd name="T68" fmla="*/ 245 w 283"/>
                <a:gd name="T69" fmla="*/ 259 h 426"/>
                <a:gd name="T70" fmla="*/ 222 w 283"/>
                <a:gd name="T71" fmla="*/ 246 h 426"/>
                <a:gd name="T72" fmla="*/ 215 w 283"/>
                <a:gd name="T73" fmla="*/ 248 h 426"/>
                <a:gd name="T74" fmla="*/ 202 w 283"/>
                <a:gd name="T75" fmla="*/ 270 h 426"/>
                <a:gd name="T76" fmla="*/ 215 w 283"/>
                <a:gd name="T77" fmla="*/ 24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3" h="426">
                  <a:moveTo>
                    <a:pt x="151" y="100"/>
                  </a:moveTo>
                  <a:cubicBezTo>
                    <a:pt x="124" y="100"/>
                    <a:pt x="101" y="77"/>
                    <a:pt x="101" y="50"/>
                  </a:cubicBezTo>
                  <a:cubicBezTo>
                    <a:pt x="101" y="22"/>
                    <a:pt x="124" y="0"/>
                    <a:pt x="151" y="0"/>
                  </a:cubicBezTo>
                  <a:cubicBezTo>
                    <a:pt x="179" y="0"/>
                    <a:pt x="202" y="22"/>
                    <a:pt x="202" y="50"/>
                  </a:cubicBezTo>
                  <a:cubicBezTo>
                    <a:pt x="202" y="77"/>
                    <a:pt x="179" y="100"/>
                    <a:pt x="151" y="100"/>
                  </a:cubicBezTo>
                  <a:close/>
                  <a:moveTo>
                    <a:pt x="271" y="254"/>
                  </a:moveTo>
                  <a:cubicBezTo>
                    <a:pt x="273" y="262"/>
                    <a:pt x="273" y="262"/>
                    <a:pt x="273" y="262"/>
                  </a:cubicBezTo>
                  <a:cubicBezTo>
                    <a:pt x="273" y="263"/>
                    <a:pt x="274" y="265"/>
                    <a:pt x="274" y="266"/>
                  </a:cubicBezTo>
                  <a:cubicBezTo>
                    <a:pt x="274" y="274"/>
                    <a:pt x="269" y="280"/>
                    <a:pt x="261" y="282"/>
                  </a:cubicBezTo>
                  <a:cubicBezTo>
                    <a:pt x="204" y="298"/>
                    <a:pt x="204" y="298"/>
                    <a:pt x="204" y="298"/>
                  </a:cubicBezTo>
                  <a:cubicBezTo>
                    <a:pt x="228" y="395"/>
                    <a:pt x="228" y="395"/>
                    <a:pt x="228" y="395"/>
                  </a:cubicBezTo>
                  <a:cubicBezTo>
                    <a:pt x="231" y="409"/>
                    <a:pt x="223" y="422"/>
                    <a:pt x="210" y="426"/>
                  </a:cubicBezTo>
                  <a:cubicBezTo>
                    <a:pt x="208" y="426"/>
                    <a:pt x="206" y="426"/>
                    <a:pt x="204" y="426"/>
                  </a:cubicBezTo>
                  <a:cubicBezTo>
                    <a:pt x="192" y="426"/>
                    <a:pt x="182" y="419"/>
                    <a:pt x="179" y="407"/>
                  </a:cubicBezTo>
                  <a:cubicBezTo>
                    <a:pt x="155" y="311"/>
                    <a:pt x="155" y="311"/>
                    <a:pt x="155" y="311"/>
                  </a:cubicBezTo>
                  <a:cubicBezTo>
                    <a:pt x="141" y="315"/>
                    <a:pt x="141" y="315"/>
                    <a:pt x="141" y="315"/>
                  </a:cubicBezTo>
                  <a:cubicBezTo>
                    <a:pt x="118" y="407"/>
                    <a:pt x="118" y="407"/>
                    <a:pt x="118" y="407"/>
                  </a:cubicBezTo>
                  <a:cubicBezTo>
                    <a:pt x="116" y="419"/>
                    <a:pt x="105" y="426"/>
                    <a:pt x="94" y="426"/>
                  </a:cubicBezTo>
                  <a:cubicBezTo>
                    <a:pt x="92" y="426"/>
                    <a:pt x="90" y="426"/>
                    <a:pt x="88" y="426"/>
                  </a:cubicBezTo>
                  <a:cubicBezTo>
                    <a:pt x="75" y="422"/>
                    <a:pt x="67" y="409"/>
                    <a:pt x="70" y="395"/>
                  </a:cubicBezTo>
                  <a:cubicBezTo>
                    <a:pt x="86" y="329"/>
                    <a:pt x="86" y="329"/>
                    <a:pt x="86" y="329"/>
                  </a:cubicBezTo>
                  <a:cubicBezTo>
                    <a:pt x="54" y="338"/>
                    <a:pt x="54" y="338"/>
                    <a:pt x="54" y="338"/>
                  </a:cubicBezTo>
                  <a:cubicBezTo>
                    <a:pt x="53" y="338"/>
                    <a:pt x="51" y="338"/>
                    <a:pt x="50" y="338"/>
                  </a:cubicBezTo>
                  <a:cubicBezTo>
                    <a:pt x="42" y="338"/>
                    <a:pt x="36" y="334"/>
                    <a:pt x="34" y="326"/>
                  </a:cubicBezTo>
                  <a:cubicBezTo>
                    <a:pt x="0" y="202"/>
                    <a:pt x="0" y="202"/>
                    <a:pt x="0" y="202"/>
                  </a:cubicBezTo>
                  <a:cubicBezTo>
                    <a:pt x="0" y="201"/>
                    <a:pt x="0" y="200"/>
                    <a:pt x="0" y="198"/>
                  </a:cubicBezTo>
                  <a:cubicBezTo>
                    <a:pt x="0" y="191"/>
                    <a:pt x="5" y="184"/>
                    <a:pt x="12" y="182"/>
                  </a:cubicBezTo>
                  <a:cubicBezTo>
                    <a:pt x="49" y="172"/>
                    <a:pt x="49" y="172"/>
                    <a:pt x="49" y="172"/>
                  </a:cubicBezTo>
                  <a:cubicBezTo>
                    <a:pt x="106" y="127"/>
                    <a:pt x="106" y="127"/>
                    <a:pt x="106" y="127"/>
                  </a:cubicBezTo>
                  <a:cubicBezTo>
                    <a:pt x="107" y="126"/>
                    <a:pt x="109" y="125"/>
                    <a:pt x="110" y="125"/>
                  </a:cubicBezTo>
                  <a:cubicBezTo>
                    <a:pt x="117" y="119"/>
                    <a:pt x="130" y="116"/>
                    <a:pt x="149" y="116"/>
                  </a:cubicBezTo>
                  <a:cubicBezTo>
                    <a:pt x="175" y="116"/>
                    <a:pt x="189" y="123"/>
                    <a:pt x="195" y="133"/>
                  </a:cubicBezTo>
                  <a:cubicBezTo>
                    <a:pt x="219" y="126"/>
                    <a:pt x="219" y="126"/>
                    <a:pt x="219" y="126"/>
                  </a:cubicBezTo>
                  <a:cubicBezTo>
                    <a:pt x="221" y="126"/>
                    <a:pt x="222" y="126"/>
                    <a:pt x="224" y="126"/>
                  </a:cubicBezTo>
                  <a:cubicBezTo>
                    <a:pt x="231" y="126"/>
                    <a:pt x="238" y="131"/>
                    <a:pt x="240" y="138"/>
                  </a:cubicBezTo>
                  <a:cubicBezTo>
                    <a:pt x="261" y="215"/>
                    <a:pt x="261" y="215"/>
                    <a:pt x="261" y="215"/>
                  </a:cubicBezTo>
                  <a:cubicBezTo>
                    <a:pt x="263" y="215"/>
                    <a:pt x="263" y="215"/>
                    <a:pt x="263" y="215"/>
                  </a:cubicBezTo>
                  <a:cubicBezTo>
                    <a:pt x="275" y="215"/>
                    <a:pt x="283" y="224"/>
                    <a:pt x="283" y="235"/>
                  </a:cubicBezTo>
                  <a:cubicBezTo>
                    <a:pt x="283" y="244"/>
                    <a:pt x="278" y="251"/>
                    <a:pt x="271" y="254"/>
                  </a:cubicBezTo>
                  <a:close/>
                  <a:moveTo>
                    <a:pt x="86" y="208"/>
                  </a:moveTo>
                  <a:cubicBezTo>
                    <a:pt x="237" y="167"/>
                    <a:pt x="237" y="167"/>
                    <a:pt x="237" y="167"/>
                  </a:cubicBezTo>
                  <a:cubicBezTo>
                    <a:pt x="230" y="141"/>
                    <a:pt x="230" y="141"/>
                    <a:pt x="230" y="141"/>
                  </a:cubicBezTo>
                  <a:cubicBezTo>
                    <a:pt x="230" y="138"/>
                    <a:pt x="227" y="136"/>
                    <a:pt x="224" y="136"/>
                  </a:cubicBezTo>
                  <a:cubicBezTo>
                    <a:pt x="223" y="136"/>
                    <a:pt x="223" y="136"/>
                    <a:pt x="222" y="136"/>
                  </a:cubicBezTo>
                  <a:cubicBezTo>
                    <a:pt x="127" y="161"/>
                    <a:pt x="127" y="161"/>
                    <a:pt x="127" y="161"/>
                  </a:cubicBezTo>
                  <a:cubicBezTo>
                    <a:pt x="86" y="194"/>
                    <a:pt x="86" y="194"/>
                    <a:pt x="86" y="194"/>
                  </a:cubicBezTo>
                  <a:lnTo>
                    <a:pt x="86" y="208"/>
                  </a:lnTo>
                  <a:close/>
                  <a:moveTo>
                    <a:pt x="17" y="226"/>
                  </a:moveTo>
                  <a:cubicBezTo>
                    <a:pt x="46" y="219"/>
                    <a:pt x="46" y="219"/>
                    <a:pt x="46" y="219"/>
                  </a:cubicBezTo>
                  <a:cubicBezTo>
                    <a:pt x="46" y="183"/>
                    <a:pt x="46" y="183"/>
                    <a:pt x="46" y="183"/>
                  </a:cubicBezTo>
                  <a:cubicBezTo>
                    <a:pt x="15" y="191"/>
                    <a:pt x="15" y="191"/>
                    <a:pt x="15" y="191"/>
                  </a:cubicBezTo>
                  <a:cubicBezTo>
                    <a:pt x="12" y="192"/>
                    <a:pt x="10" y="195"/>
                    <a:pt x="10" y="198"/>
                  </a:cubicBezTo>
                  <a:cubicBezTo>
                    <a:pt x="10" y="199"/>
                    <a:pt x="10" y="199"/>
                    <a:pt x="10" y="200"/>
                  </a:cubicBezTo>
                  <a:lnTo>
                    <a:pt x="17" y="226"/>
                  </a:lnTo>
                  <a:close/>
                  <a:moveTo>
                    <a:pt x="264" y="266"/>
                  </a:moveTo>
                  <a:cubicBezTo>
                    <a:pt x="264" y="266"/>
                    <a:pt x="264" y="265"/>
                    <a:pt x="263" y="264"/>
                  </a:cubicBezTo>
                  <a:cubicBezTo>
                    <a:pt x="247" y="201"/>
                    <a:pt x="247" y="201"/>
                    <a:pt x="247" y="201"/>
                  </a:cubicBezTo>
                  <a:cubicBezTo>
                    <a:pt x="86" y="244"/>
                    <a:pt x="86" y="244"/>
                    <a:pt x="86" y="244"/>
                  </a:cubicBezTo>
                  <a:cubicBezTo>
                    <a:pt x="86" y="246"/>
                    <a:pt x="86" y="246"/>
                    <a:pt x="86" y="246"/>
                  </a:cubicBezTo>
                  <a:cubicBezTo>
                    <a:pt x="86" y="246"/>
                    <a:pt x="86" y="246"/>
                    <a:pt x="86" y="246"/>
                  </a:cubicBezTo>
                  <a:cubicBezTo>
                    <a:pt x="86" y="257"/>
                    <a:pt x="77" y="266"/>
                    <a:pt x="66" y="266"/>
                  </a:cubicBezTo>
                  <a:cubicBezTo>
                    <a:pt x="58" y="266"/>
                    <a:pt x="51" y="262"/>
                    <a:pt x="48" y="255"/>
                  </a:cubicBezTo>
                  <a:cubicBezTo>
                    <a:pt x="26" y="260"/>
                    <a:pt x="26" y="260"/>
                    <a:pt x="26" y="260"/>
                  </a:cubicBezTo>
                  <a:cubicBezTo>
                    <a:pt x="43" y="323"/>
                    <a:pt x="43" y="323"/>
                    <a:pt x="43" y="323"/>
                  </a:cubicBezTo>
                  <a:cubicBezTo>
                    <a:pt x="44" y="326"/>
                    <a:pt x="47" y="328"/>
                    <a:pt x="50" y="328"/>
                  </a:cubicBezTo>
                  <a:cubicBezTo>
                    <a:pt x="50" y="328"/>
                    <a:pt x="51" y="328"/>
                    <a:pt x="52" y="328"/>
                  </a:cubicBezTo>
                  <a:cubicBezTo>
                    <a:pt x="259" y="273"/>
                    <a:pt x="259" y="273"/>
                    <a:pt x="259" y="273"/>
                  </a:cubicBezTo>
                  <a:cubicBezTo>
                    <a:pt x="262" y="272"/>
                    <a:pt x="264" y="269"/>
                    <a:pt x="264" y="266"/>
                  </a:cubicBezTo>
                  <a:close/>
                  <a:moveTo>
                    <a:pt x="240" y="241"/>
                  </a:moveTo>
                  <a:cubicBezTo>
                    <a:pt x="245" y="259"/>
                    <a:pt x="245" y="259"/>
                    <a:pt x="245" y="259"/>
                  </a:cubicBezTo>
                  <a:cubicBezTo>
                    <a:pt x="227" y="264"/>
                    <a:pt x="227" y="264"/>
                    <a:pt x="227" y="264"/>
                  </a:cubicBezTo>
                  <a:cubicBezTo>
                    <a:pt x="222" y="246"/>
                    <a:pt x="222" y="246"/>
                    <a:pt x="222" y="246"/>
                  </a:cubicBezTo>
                  <a:lnTo>
                    <a:pt x="240" y="241"/>
                  </a:lnTo>
                  <a:close/>
                  <a:moveTo>
                    <a:pt x="215" y="248"/>
                  </a:moveTo>
                  <a:cubicBezTo>
                    <a:pt x="220" y="265"/>
                    <a:pt x="220" y="265"/>
                    <a:pt x="220" y="265"/>
                  </a:cubicBezTo>
                  <a:cubicBezTo>
                    <a:pt x="202" y="270"/>
                    <a:pt x="202" y="270"/>
                    <a:pt x="202" y="270"/>
                  </a:cubicBezTo>
                  <a:cubicBezTo>
                    <a:pt x="197" y="253"/>
                    <a:pt x="197" y="253"/>
                    <a:pt x="197" y="253"/>
                  </a:cubicBezTo>
                  <a:lnTo>
                    <a:pt x="215" y="248"/>
                  </a:lnTo>
                  <a:close/>
                </a:path>
              </a:pathLst>
            </a:custGeom>
            <a:solidFill>
              <a:schemeClr val="bg2"/>
            </a:solidFill>
            <a:ln>
              <a:noFill/>
            </a:ln>
            <a:extLst/>
          </p:spPr>
          <p:txBody>
            <a:bodyPr vert="horz" wrap="square" lIns="82305" tIns="41153" rIns="82305" bIns="41153" numCol="1" anchor="t" anchorCtr="0" compatLnSpc="1">
              <a:prstTxWarp prst="textNoShape">
                <a:avLst/>
              </a:prstTxWarp>
            </a:bodyPr>
            <a:lstStyle/>
            <a:p>
              <a:endParaRPr lang="en-US" sz="1600"/>
            </a:p>
          </p:txBody>
        </p:sp>
      </p:grpSp>
      <p:grpSp>
        <p:nvGrpSpPr>
          <p:cNvPr id="32" name="Group 5"/>
          <p:cNvGrpSpPr/>
          <p:nvPr/>
        </p:nvGrpSpPr>
        <p:grpSpPr bwMode="black">
          <a:xfrm rot="2897814">
            <a:off x="8711533" y="4534741"/>
            <a:ext cx="573379" cy="586439"/>
            <a:chOff x="307975" y="1987550"/>
            <a:chExt cx="1377950" cy="1409702"/>
          </a:xfrm>
          <a:solidFill>
            <a:schemeClr val="bg2"/>
          </a:solidFill>
        </p:grpSpPr>
        <p:sp>
          <p:nvSpPr>
            <p:cNvPr id="35" name="Freeform 118"/>
            <p:cNvSpPr>
              <a:spLocks/>
            </p:cNvSpPr>
            <p:nvPr/>
          </p:nvSpPr>
          <p:spPr bwMode="black">
            <a:xfrm>
              <a:off x="538163" y="2516189"/>
              <a:ext cx="917574"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7"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8"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0"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2"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3"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4"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5"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6"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7"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8"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9"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0"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1"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2"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3"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4"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55" name="Group 20510"/>
          <p:cNvGrpSpPr/>
          <p:nvPr/>
        </p:nvGrpSpPr>
        <p:grpSpPr bwMode="black">
          <a:xfrm>
            <a:off x="9278665" y="4412543"/>
            <a:ext cx="748032" cy="909987"/>
            <a:chOff x="1752600" y="4267200"/>
            <a:chExt cx="1157286" cy="1302545"/>
          </a:xfrm>
          <a:solidFill>
            <a:schemeClr val="bg2"/>
          </a:solidFill>
        </p:grpSpPr>
        <p:sp>
          <p:nvSpPr>
            <p:cNvPr id="56"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7"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8"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9"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0"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1"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2" name="Freeform 225"/>
            <p:cNvSpPr>
              <a:spLocks noEditPoints="1"/>
            </p:cNvSpPr>
            <p:nvPr/>
          </p:nvSpPr>
          <p:spPr bwMode="black">
            <a:xfrm>
              <a:off x="1886286"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63" name="Freeform 22"/>
          <p:cNvSpPr>
            <a:spLocks noEditPoints="1"/>
          </p:cNvSpPr>
          <p:nvPr/>
        </p:nvSpPr>
        <p:spPr bwMode="black">
          <a:xfrm>
            <a:off x="2749494" y="4588404"/>
            <a:ext cx="585689" cy="585536"/>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chemeClr val="tx2"/>
          </a:solidFill>
          <a:ln>
            <a:noFill/>
          </a:ln>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186038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Back to the bank heist </a:t>
            </a:r>
          </a:p>
        </p:txBody>
      </p:sp>
      <p:sp>
        <p:nvSpPr>
          <p:cNvPr id="18" name="Rectangle 17"/>
          <p:cNvSpPr/>
          <p:nvPr/>
        </p:nvSpPr>
        <p:spPr bwMode="auto">
          <a:xfrm>
            <a:off x="383540" y="1430611"/>
            <a:ext cx="4114800" cy="506162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a:off x="383540" y="1430611"/>
            <a:ext cx="4114800" cy="627864"/>
          </a:xfrm>
          <a:prstGeom prst="rect">
            <a:avLst/>
          </a:prstGeom>
          <a:solidFill>
            <a:schemeClr val="tx2"/>
          </a:solidFill>
        </p:spPr>
        <p:txBody>
          <a:bodyPr wrap="square" lIns="182880" tIns="146304" rIns="182880" bIns="146304" rtlCol="0">
            <a:spAutoFit/>
          </a:bodyPr>
          <a:lstStyle>
            <a:defPPr>
              <a:defRPr lang="en-US"/>
            </a:defPPr>
            <a:lvl1pPr>
              <a:lnSpc>
                <a:spcPct val="90000"/>
              </a:lnSpc>
              <a:spcAft>
                <a:spcPts val="600"/>
              </a:spcAft>
              <a:defRPr sz="2400">
                <a:solidFill>
                  <a:schemeClr val="bg2"/>
                </a:solidFill>
              </a:defRPr>
            </a:lvl1pPr>
          </a:lstStyle>
          <a:p>
            <a:pPr algn="ctr"/>
            <a:r>
              <a:rPr lang="en-US" b="1" dirty="0">
                <a:solidFill>
                  <a:schemeClr val="bg1"/>
                </a:solidFill>
              </a:rPr>
              <a:t>Getting access to system</a:t>
            </a:r>
            <a:endParaRPr lang="en-US" sz="1800" b="1" dirty="0">
              <a:solidFill>
                <a:schemeClr val="bg1"/>
              </a:solidFill>
            </a:endParaRPr>
          </a:p>
        </p:txBody>
      </p:sp>
      <p:sp>
        <p:nvSpPr>
          <p:cNvPr id="4" name="TextBox 3"/>
          <p:cNvSpPr txBox="1"/>
          <p:nvPr/>
        </p:nvSpPr>
        <p:spPr>
          <a:xfrm>
            <a:off x="865413" y="1975376"/>
            <a:ext cx="3734163" cy="794064"/>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Hackers sending phishing emails to bank employees</a:t>
            </a:r>
          </a:p>
        </p:txBody>
      </p:sp>
      <p:grpSp>
        <p:nvGrpSpPr>
          <p:cNvPr id="17" name="Group 4"/>
          <p:cNvGrpSpPr/>
          <p:nvPr/>
        </p:nvGrpSpPr>
        <p:grpSpPr>
          <a:xfrm>
            <a:off x="1105085" y="2506903"/>
            <a:ext cx="4114800" cy="772481"/>
            <a:chOff x="1364336" y="3384465"/>
            <a:chExt cx="4114800" cy="772481"/>
          </a:xfrm>
        </p:grpSpPr>
        <p:sp>
          <p:nvSpPr>
            <p:cNvPr id="8" name="TextBox 6"/>
            <p:cNvSpPr txBox="1"/>
            <p:nvPr/>
          </p:nvSpPr>
          <p:spPr>
            <a:xfrm>
              <a:off x="1364336" y="3384465"/>
              <a:ext cx="4114800" cy="517065"/>
            </a:xfrm>
            <a:prstGeom prst="rect">
              <a:avLst/>
            </a:prstGeom>
            <a:noFill/>
          </p:spPr>
          <p:txBody>
            <a:bodyPr wrap="square" lIns="182880" tIns="146304" rIns="182880" bIns="146304" rtlCol="0">
              <a:spAutoFit/>
            </a:bodyPr>
            <a:lstStyle/>
            <a:p>
              <a:pPr marL="285750" indent="-285750">
                <a:lnSpc>
                  <a:spcPct val="90000"/>
                </a:lnSpc>
                <a:spcAft>
                  <a:spcPts val="600"/>
                </a:spcAft>
                <a:buFont typeface="Wingdings" panose="05000000000000000000" pitchFamily="2" charset="2"/>
                <a:buChar char="§"/>
              </a:pPr>
              <a:r>
                <a:rPr lang="en-US" sz="1600" dirty="0">
                  <a:gradFill>
                    <a:gsLst>
                      <a:gs pos="2917">
                        <a:schemeClr val="tx1"/>
                      </a:gs>
                      <a:gs pos="30000">
                        <a:schemeClr val="tx1"/>
                      </a:gs>
                    </a:gsLst>
                    <a:lin ang="5400000" scaled="0"/>
                  </a:gradFill>
                </a:rPr>
                <a:t>Emails with exploits</a:t>
              </a:r>
            </a:p>
          </p:txBody>
        </p:sp>
        <p:sp>
          <p:nvSpPr>
            <p:cNvPr id="9" name="TextBox 12"/>
            <p:cNvSpPr txBox="1"/>
            <p:nvPr/>
          </p:nvSpPr>
          <p:spPr>
            <a:xfrm>
              <a:off x="1364336" y="3639881"/>
              <a:ext cx="4114800" cy="517065"/>
            </a:xfrm>
            <a:prstGeom prst="rect">
              <a:avLst/>
            </a:prstGeom>
            <a:noFill/>
          </p:spPr>
          <p:txBody>
            <a:bodyPr wrap="square" lIns="182880" tIns="146304" rIns="182880" bIns="146304" rtlCol="0">
              <a:spAutoFit/>
            </a:bodyPr>
            <a:lstStyle/>
            <a:p>
              <a:pPr marL="285750" indent="-285750">
                <a:lnSpc>
                  <a:spcPct val="90000"/>
                </a:lnSpc>
                <a:spcAft>
                  <a:spcPts val="600"/>
                </a:spcAft>
                <a:buFont typeface="Wingdings" panose="05000000000000000000" pitchFamily="2" charset="2"/>
                <a:buChar char="§"/>
              </a:pPr>
              <a:r>
                <a:rPr lang="en-US" sz="1600" dirty="0">
                  <a:gradFill>
                    <a:gsLst>
                      <a:gs pos="2917">
                        <a:schemeClr val="tx1"/>
                      </a:gs>
                      <a:gs pos="30000">
                        <a:schemeClr val="tx1"/>
                      </a:gs>
                    </a:gsLst>
                    <a:lin ang="5400000" scaled="0"/>
                  </a:gradFill>
                </a:rPr>
                <a:t>Credentials stolen</a:t>
              </a:r>
            </a:p>
          </p:txBody>
        </p:sp>
      </p:grpSp>
      <p:sp>
        <p:nvSpPr>
          <p:cNvPr id="10" name="TextBox 9"/>
          <p:cNvSpPr txBox="1"/>
          <p:nvPr/>
        </p:nvSpPr>
        <p:spPr>
          <a:xfrm>
            <a:off x="848076" y="4253318"/>
            <a:ext cx="3612401" cy="794064"/>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100s of machines infected looking for admin PC</a:t>
            </a:r>
          </a:p>
        </p:txBody>
      </p:sp>
      <p:sp>
        <p:nvSpPr>
          <p:cNvPr id="21" name="Rectangle 20"/>
          <p:cNvSpPr/>
          <p:nvPr/>
        </p:nvSpPr>
        <p:spPr bwMode="auto">
          <a:xfrm>
            <a:off x="5083988" y="1984453"/>
            <a:ext cx="6780352" cy="195352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p:cNvSpPr txBox="1"/>
          <p:nvPr/>
        </p:nvSpPr>
        <p:spPr>
          <a:xfrm>
            <a:off x="9127319" y="1967851"/>
            <a:ext cx="2531281" cy="1043363"/>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Mimicked bank </a:t>
            </a:r>
            <a:r>
              <a:rPr lang="en-US">
                <a:gradFill>
                  <a:gsLst>
                    <a:gs pos="2917">
                      <a:schemeClr val="tx1"/>
                    </a:gs>
                    <a:gs pos="30000">
                      <a:schemeClr val="tx1"/>
                    </a:gs>
                  </a:gsLst>
                  <a:lin ang="5400000" scaled="0"/>
                </a:gradFill>
              </a:rPr>
              <a:t>employees to transfer funds</a:t>
            </a:r>
            <a:endParaRPr lang="en-US" dirty="0">
              <a:gradFill>
                <a:gsLst>
                  <a:gs pos="2917">
                    <a:schemeClr val="tx1"/>
                  </a:gs>
                  <a:gs pos="30000">
                    <a:schemeClr val="tx1"/>
                  </a:gs>
                </a:gsLst>
                <a:lin ang="5400000" scaled="0"/>
              </a:gradFill>
            </a:endParaRPr>
          </a:p>
        </p:txBody>
      </p:sp>
      <p:sp>
        <p:nvSpPr>
          <p:cNvPr id="16" name="TextBox 15"/>
          <p:cNvSpPr txBox="1"/>
          <p:nvPr/>
        </p:nvSpPr>
        <p:spPr>
          <a:xfrm>
            <a:off x="6787604" y="450354"/>
            <a:ext cx="5051502" cy="627864"/>
          </a:xfrm>
          <a:prstGeom prst="rect">
            <a:avLst/>
          </a:prstGeom>
          <a:noFill/>
        </p:spPr>
        <p:txBody>
          <a:bodyPr wrap="square" lIns="182880" tIns="146304" rIns="182880" bIns="146304" rtlCol="0">
            <a:spAutoFit/>
          </a:bodyPr>
          <a:lstStyle/>
          <a:p>
            <a:pPr algn="r">
              <a:lnSpc>
                <a:spcPct val="90000"/>
              </a:lnSpc>
              <a:spcAft>
                <a:spcPts val="600"/>
              </a:spcAft>
            </a:pPr>
            <a:r>
              <a:rPr lang="en-US" sz="2400" i="1" dirty="0">
                <a:solidFill>
                  <a:schemeClr val="accent2"/>
                </a:solidFill>
                <a:latin typeface="+mj-lt"/>
              </a:rPr>
              <a:t>It all started with phishing emails</a:t>
            </a:r>
          </a:p>
        </p:txBody>
      </p:sp>
      <p:sp>
        <p:nvSpPr>
          <p:cNvPr id="23" name="TextBox 22"/>
          <p:cNvSpPr txBox="1"/>
          <p:nvPr/>
        </p:nvSpPr>
        <p:spPr>
          <a:xfrm>
            <a:off x="5083988" y="1430611"/>
            <a:ext cx="6780352" cy="627864"/>
          </a:xfrm>
          <a:prstGeom prst="rect">
            <a:avLst/>
          </a:prstGeom>
          <a:solidFill>
            <a:schemeClr val="tx2"/>
          </a:solidFill>
        </p:spPr>
        <p:txBody>
          <a:bodyPr wrap="square" lIns="182880" tIns="146304" rIns="182880" bIns="146304" rtlCol="0">
            <a:spAutoFit/>
          </a:bodyPr>
          <a:lstStyle>
            <a:defPPr>
              <a:defRPr lang="en-US"/>
            </a:defPPr>
            <a:lvl1pPr>
              <a:lnSpc>
                <a:spcPct val="90000"/>
              </a:lnSpc>
              <a:spcAft>
                <a:spcPts val="600"/>
              </a:spcAft>
              <a:defRPr sz="2400">
                <a:solidFill>
                  <a:schemeClr val="bg2"/>
                </a:solidFill>
              </a:defRPr>
            </a:lvl1pPr>
          </a:lstStyle>
          <a:p>
            <a:pPr algn="ctr"/>
            <a:r>
              <a:rPr lang="en-US" b="1" dirty="0">
                <a:solidFill>
                  <a:schemeClr val="bg1"/>
                </a:solidFill>
              </a:rPr>
              <a:t>Impersonating employees</a:t>
            </a:r>
            <a:endParaRPr lang="en-US" sz="1800" b="1" dirty="0">
              <a:solidFill>
                <a:schemeClr val="bg1"/>
              </a:solidFill>
            </a:endParaRPr>
          </a:p>
        </p:txBody>
      </p:sp>
      <p:sp>
        <p:nvSpPr>
          <p:cNvPr id="24" name="TextBox 23"/>
          <p:cNvSpPr txBox="1"/>
          <p:nvPr/>
        </p:nvSpPr>
        <p:spPr>
          <a:xfrm>
            <a:off x="5099228" y="4364272"/>
            <a:ext cx="6780352" cy="627864"/>
          </a:xfrm>
          <a:prstGeom prst="rect">
            <a:avLst/>
          </a:prstGeom>
          <a:solidFill>
            <a:schemeClr val="tx2"/>
          </a:solidFill>
        </p:spPr>
        <p:txBody>
          <a:bodyPr wrap="square" lIns="182880" tIns="146304" rIns="182880" bIns="146304" rtlCol="0">
            <a:spAutoFit/>
          </a:bodyPr>
          <a:lstStyle>
            <a:defPPr>
              <a:defRPr lang="en-US"/>
            </a:defPPr>
            <a:lvl1pPr>
              <a:lnSpc>
                <a:spcPct val="90000"/>
              </a:lnSpc>
              <a:spcAft>
                <a:spcPts val="600"/>
              </a:spcAft>
              <a:defRPr sz="2400">
                <a:solidFill>
                  <a:schemeClr val="bg2"/>
                </a:solidFill>
              </a:defRPr>
            </a:lvl1pPr>
          </a:lstStyle>
          <a:p>
            <a:pPr algn="ctr"/>
            <a:r>
              <a:rPr lang="en-US" b="1" dirty="0">
                <a:solidFill>
                  <a:schemeClr val="bg1"/>
                </a:solidFill>
              </a:rPr>
              <a:t>4 ways to dispense funds</a:t>
            </a:r>
            <a:endParaRPr lang="en-US" sz="1800" b="1" dirty="0">
              <a:solidFill>
                <a:schemeClr val="bg1"/>
              </a:solidFill>
            </a:endParaRPr>
          </a:p>
        </p:txBody>
      </p:sp>
      <p:sp>
        <p:nvSpPr>
          <p:cNvPr id="25" name="Rectangle 24"/>
          <p:cNvSpPr/>
          <p:nvPr/>
        </p:nvSpPr>
        <p:spPr bwMode="auto">
          <a:xfrm>
            <a:off x="5099228" y="4909037"/>
            <a:ext cx="6780352" cy="158320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6" name="Straight Arrow Connector 25"/>
          <p:cNvCxnSpPr>
            <a:stCxn id="3" idx="3"/>
            <a:endCxn id="23" idx="1"/>
          </p:cNvCxnSpPr>
          <p:nvPr/>
        </p:nvCxnSpPr>
        <p:spPr>
          <a:xfrm>
            <a:off x="4498340" y="1744543"/>
            <a:ext cx="585648" cy="0"/>
          </a:xfrm>
          <a:prstGeom prst="straightConnector1">
            <a:avLst/>
          </a:prstGeom>
          <a:ln w="76200">
            <a:solidFill>
              <a:schemeClr val="bg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21" idx="2"/>
            <a:endCxn id="24" idx="0"/>
          </p:cNvCxnSpPr>
          <p:nvPr/>
        </p:nvCxnSpPr>
        <p:spPr>
          <a:xfrm>
            <a:off x="8474164" y="3937979"/>
            <a:ext cx="15240" cy="426293"/>
          </a:xfrm>
          <a:prstGeom prst="straightConnector1">
            <a:avLst/>
          </a:prstGeom>
          <a:ln w="76200">
            <a:solidFill>
              <a:schemeClr val="bg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21504" name="TextBox 21503"/>
          <p:cNvSpPr txBox="1"/>
          <p:nvPr/>
        </p:nvSpPr>
        <p:spPr>
          <a:xfrm>
            <a:off x="5114468" y="4925421"/>
            <a:ext cx="1674952"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b="1" dirty="0">
                <a:solidFill>
                  <a:schemeClr val="bg2"/>
                </a:solidFill>
              </a:rPr>
              <a:t>E-Payment Systems</a:t>
            </a:r>
          </a:p>
        </p:txBody>
      </p:sp>
      <p:sp>
        <p:nvSpPr>
          <p:cNvPr id="34" name="TextBox 33"/>
          <p:cNvSpPr txBox="1"/>
          <p:nvPr/>
        </p:nvSpPr>
        <p:spPr>
          <a:xfrm>
            <a:off x="6815360" y="4925421"/>
            <a:ext cx="1674952"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b="1" dirty="0">
                <a:solidFill>
                  <a:schemeClr val="bg2"/>
                </a:solidFill>
              </a:rPr>
              <a:t>Inflating Accounts</a:t>
            </a:r>
          </a:p>
        </p:txBody>
      </p:sp>
      <p:sp>
        <p:nvSpPr>
          <p:cNvPr id="35" name="TextBox 34"/>
          <p:cNvSpPr txBox="1"/>
          <p:nvPr/>
        </p:nvSpPr>
        <p:spPr>
          <a:xfrm>
            <a:off x="10217144" y="4925421"/>
            <a:ext cx="1674952"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b="1" dirty="0">
                <a:solidFill>
                  <a:schemeClr val="bg2"/>
                </a:solidFill>
              </a:rPr>
              <a:t>Controlling ATMs</a:t>
            </a:r>
          </a:p>
        </p:txBody>
      </p:sp>
      <p:sp>
        <p:nvSpPr>
          <p:cNvPr id="36" name="TextBox 35"/>
          <p:cNvSpPr txBox="1"/>
          <p:nvPr/>
        </p:nvSpPr>
        <p:spPr>
          <a:xfrm>
            <a:off x="8516252" y="4925421"/>
            <a:ext cx="1674952"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b="1" dirty="0">
                <a:solidFill>
                  <a:schemeClr val="bg2"/>
                </a:solidFill>
              </a:rPr>
              <a:t>Online Banking</a:t>
            </a:r>
          </a:p>
        </p:txBody>
      </p:sp>
      <p:cxnSp>
        <p:nvCxnSpPr>
          <p:cNvPr id="21507" name="Straight Connector 21506"/>
          <p:cNvCxnSpPr/>
          <p:nvPr/>
        </p:nvCxnSpPr>
        <p:spPr>
          <a:xfrm>
            <a:off x="6789420" y="5089251"/>
            <a:ext cx="0" cy="1280160"/>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8520878" y="5089251"/>
            <a:ext cx="0" cy="1280160"/>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10252336" y="5089251"/>
            <a:ext cx="0" cy="1280160"/>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508" name="TextBox 21507"/>
          <p:cNvSpPr txBox="1"/>
          <p:nvPr/>
        </p:nvSpPr>
        <p:spPr>
          <a:xfrm>
            <a:off x="5172877" y="5526925"/>
            <a:ext cx="1614727" cy="7940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 transferred to banks in China and US</a:t>
            </a:r>
          </a:p>
        </p:txBody>
      </p:sp>
      <p:sp>
        <p:nvSpPr>
          <p:cNvPr id="42" name="TextBox 41"/>
          <p:cNvSpPr txBox="1"/>
          <p:nvPr/>
        </p:nvSpPr>
        <p:spPr>
          <a:xfrm>
            <a:off x="6867057" y="5521730"/>
            <a:ext cx="1614727" cy="960263"/>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Extra funds taken out of accounts and placed into hackers accounts</a:t>
            </a:r>
          </a:p>
        </p:txBody>
      </p:sp>
      <p:sp>
        <p:nvSpPr>
          <p:cNvPr id="43" name="TextBox 42"/>
          <p:cNvSpPr txBox="1"/>
          <p:nvPr/>
        </p:nvSpPr>
        <p:spPr>
          <a:xfrm>
            <a:off x="8589447" y="5521730"/>
            <a:ext cx="1614727" cy="7940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 transferred directly into hackers accounts</a:t>
            </a:r>
          </a:p>
        </p:txBody>
      </p:sp>
      <p:sp>
        <p:nvSpPr>
          <p:cNvPr id="44" name="TextBox 43"/>
          <p:cNvSpPr txBox="1"/>
          <p:nvPr/>
        </p:nvSpPr>
        <p:spPr>
          <a:xfrm>
            <a:off x="10264853" y="5521730"/>
            <a:ext cx="1614727" cy="960263"/>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Ordered ATMs to dispense $ at a predetermined time</a:t>
            </a:r>
          </a:p>
        </p:txBody>
      </p:sp>
      <p:sp>
        <p:nvSpPr>
          <p:cNvPr id="30" name="Freeform 118"/>
          <p:cNvSpPr>
            <a:spLocks noChangeAspect="1" noEditPoints="1"/>
          </p:cNvSpPr>
          <p:nvPr/>
        </p:nvSpPr>
        <p:spPr bwMode="black">
          <a:xfrm>
            <a:off x="5387375" y="3153753"/>
            <a:ext cx="420639" cy="290969"/>
          </a:xfrm>
          <a:custGeom>
            <a:avLst/>
            <a:gdLst>
              <a:gd name="T0" fmla="*/ 40 w 80"/>
              <a:gd name="T1" fmla="*/ 0 h 56"/>
              <a:gd name="T2" fmla="*/ 0 w 80"/>
              <a:gd name="T3" fmla="*/ 28 h 56"/>
              <a:gd name="T4" fmla="*/ 40 w 80"/>
              <a:gd name="T5" fmla="*/ 56 h 56"/>
              <a:gd name="T6" fmla="*/ 80 w 80"/>
              <a:gd name="T7" fmla="*/ 28 h 56"/>
              <a:gd name="T8" fmla="*/ 40 w 80"/>
              <a:gd name="T9" fmla="*/ 0 h 56"/>
              <a:gd name="T10" fmla="*/ 40 w 80"/>
              <a:gd name="T11" fmla="*/ 48 h 56"/>
              <a:gd name="T12" fmla="*/ 20 w 80"/>
              <a:gd name="T13" fmla="*/ 28 h 56"/>
              <a:gd name="T14" fmla="*/ 40 w 80"/>
              <a:gd name="T15" fmla="*/ 8 h 56"/>
              <a:gd name="T16" fmla="*/ 60 w 80"/>
              <a:gd name="T17" fmla="*/ 28 h 56"/>
              <a:gd name="T18" fmla="*/ 40 w 80"/>
              <a:gd name="T19" fmla="*/ 48 h 56"/>
              <a:gd name="T20" fmla="*/ 52 w 80"/>
              <a:gd name="T21" fmla="*/ 28 h 56"/>
              <a:gd name="T22" fmla="*/ 40 w 80"/>
              <a:gd name="T23" fmla="*/ 40 h 56"/>
              <a:gd name="T24" fmla="*/ 28 w 80"/>
              <a:gd name="T25" fmla="*/ 28 h 56"/>
              <a:gd name="T26" fmla="*/ 40 w 80"/>
              <a:gd name="T27" fmla="*/ 16 h 56"/>
              <a:gd name="T28" fmla="*/ 52 w 80"/>
              <a:gd name="T2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56">
                <a:moveTo>
                  <a:pt x="40" y="0"/>
                </a:moveTo>
                <a:cubicBezTo>
                  <a:pt x="15" y="0"/>
                  <a:pt x="0" y="28"/>
                  <a:pt x="0" y="28"/>
                </a:cubicBezTo>
                <a:cubicBezTo>
                  <a:pt x="0" y="28"/>
                  <a:pt x="15" y="56"/>
                  <a:pt x="40" y="56"/>
                </a:cubicBezTo>
                <a:cubicBezTo>
                  <a:pt x="65" y="56"/>
                  <a:pt x="80" y="28"/>
                  <a:pt x="80" y="28"/>
                </a:cubicBezTo>
                <a:cubicBezTo>
                  <a:pt x="80" y="28"/>
                  <a:pt x="65" y="0"/>
                  <a:pt x="40" y="0"/>
                </a:cubicBezTo>
                <a:close/>
                <a:moveTo>
                  <a:pt x="40" y="48"/>
                </a:moveTo>
                <a:cubicBezTo>
                  <a:pt x="29" y="48"/>
                  <a:pt x="20" y="39"/>
                  <a:pt x="20" y="28"/>
                </a:cubicBezTo>
                <a:cubicBezTo>
                  <a:pt x="20" y="17"/>
                  <a:pt x="29" y="8"/>
                  <a:pt x="40" y="8"/>
                </a:cubicBezTo>
                <a:cubicBezTo>
                  <a:pt x="51" y="8"/>
                  <a:pt x="60" y="17"/>
                  <a:pt x="60" y="28"/>
                </a:cubicBezTo>
                <a:cubicBezTo>
                  <a:pt x="60" y="39"/>
                  <a:pt x="51" y="48"/>
                  <a:pt x="40" y="48"/>
                </a:cubicBezTo>
                <a:close/>
                <a:moveTo>
                  <a:pt x="52" y="28"/>
                </a:moveTo>
                <a:cubicBezTo>
                  <a:pt x="52" y="35"/>
                  <a:pt x="46" y="40"/>
                  <a:pt x="40" y="40"/>
                </a:cubicBezTo>
                <a:cubicBezTo>
                  <a:pt x="33" y="40"/>
                  <a:pt x="28" y="35"/>
                  <a:pt x="28" y="28"/>
                </a:cubicBezTo>
                <a:cubicBezTo>
                  <a:pt x="28" y="22"/>
                  <a:pt x="33" y="16"/>
                  <a:pt x="40" y="16"/>
                </a:cubicBezTo>
                <a:cubicBezTo>
                  <a:pt x="46" y="16"/>
                  <a:pt x="52" y="22"/>
                  <a:pt x="52" y="28"/>
                </a:cubicBezTo>
              </a:path>
            </a:pathLst>
          </a:custGeom>
          <a:solidFill>
            <a:schemeClr val="tx2"/>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32" name="Freeform 81"/>
          <p:cNvSpPr>
            <a:spLocks noChangeAspect="1" noEditPoints="1"/>
          </p:cNvSpPr>
          <p:nvPr/>
        </p:nvSpPr>
        <p:spPr bwMode="black">
          <a:xfrm>
            <a:off x="3137686" y="3233410"/>
            <a:ext cx="673107" cy="521116"/>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solidFill>
            <a:schemeClr val="tx2"/>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33" name="Freeform 70"/>
          <p:cNvSpPr>
            <a:spLocks noChangeAspect="1"/>
          </p:cNvSpPr>
          <p:nvPr/>
        </p:nvSpPr>
        <p:spPr bwMode="black">
          <a:xfrm>
            <a:off x="3879137" y="3012946"/>
            <a:ext cx="303944" cy="438607"/>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911" tIns="75929" rIns="94911" bIns="75929" numCol="1" spcCol="0" rtlCol="0" fromWordArt="0" anchor="t" anchorCtr="0" forceAA="0" compatLnSpc="1">
            <a:prstTxWarp prst="textNoShape">
              <a:avLst/>
            </a:prstTxWarp>
            <a:noAutofit/>
          </a:bodyPr>
          <a:lstStyle/>
          <a:p>
            <a:pPr algn="ctr" defTabSz="483924" fontAlgn="base">
              <a:lnSpc>
                <a:spcPct val="90000"/>
              </a:lnSpc>
              <a:spcBef>
                <a:spcPct val="0"/>
              </a:spcBef>
              <a:spcAft>
                <a:spcPct val="0"/>
              </a:spcAft>
            </a:pPr>
            <a:endParaRPr lang="en-US" sz="1246" dirty="0">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p:cNvCxnSpPr/>
          <p:nvPr/>
        </p:nvCxnSpPr>
        <p:spPr>
          <a:xfrm flipH="1">
            <a:off x="1583871" y="3524687"/>
            <a:ext cx="1553815" cy="0"/>
          </a:xfrm>
          <a:prstGeom prst="line">
            <a:avLst/>
          </a:prstGeom>
          <a:ln w="57150">
            <a:solidFill>
              <a:schemeClr val="tx1">
                <a:lumMod val="40000"/>
                <a:lumOff val="6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383541" y="3971002"/>
            <a:ext cx="1200330" cy="0"/>
          </a:xfrm>
          <a:prstGeom prst="line">
            <a:avLst/>
          </a:prstGeom>
          <a:ln w="57150">
            <a:solidFill>
              <a:schemeClr val="tx1">
                <a:lumMod val="40000"/>
                <a:lumOff val="6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1583871" y="3524688"/>
            <a:ext cx="0" cy="446314"/>
          </a:xfrm>
          <a:prstGeom prst="line">
            <a:avLst/>
          </a:prstGeom>
          <a:ln w="57150">
            <a:solidFill>
              <a:schemeClr val="tx1">
                <a:lumMod val="40000"/>
                <a:lumOff val="6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5" name="Oval 44"/>
          <p:cNvSpPr/>
          <p:nvPr/>
        </p:nvSpPr>
        <p:spPr bwMode="auto">
          <a:xfrm>
            <a:off x="569023" y="2121603"/>
            <a:ext cx="334490" cy="33449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1</a:t>
            </a:r>
          </a:p>
        </p:txBody>
      </p:sp>
      <p:sp>
        <p:nvSpPr>
          <p:cNvPr id="46" name="Oval 45"/>
          <p:cNvSpPr/>
          <p:nvPr/>
        </p:nvSpPr>
        <p:spPr bwMode="auto">
          <a:xfrm>
            <a:off x="569466" y="4396359"/>
            <a:ext cx="334490" cy="33449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2</a:t>
            </a:r>
          </a:p>
        </p:txBody>
      </p:sp>
      <p:sp>
        <p:nvSpPr>
          <p:cNvPr id="47" name="Freeform 14"/>
          <p:cNvSpPr>
            <a:spLocks noEditPoints="1"/>
          </p:cNvSpPr>
          <p:nvPr/>
        </p:nvSpPr>
        <p:spPr bwMode="auto">
          <a:xfrm>
            <a:off x="1081730" y="5547278"/>
            <a:ext cx="311443" cy="332072"/>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48" name="Freeform 14"/>
          <p:cNvSpPr>
            <a:spLocks noEditPoints="1"/>
          </p:cNvSpPr>
          <p:nvPr/>
        </p:nvSpPr>
        <p:spPr bwMode="auto">
          <a:xfrm>
            <a:off x="1822382" y="5547278"/>
            <a:ext cx="311443" cy="332072"/>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49" name="Freeform 14"/>
          <p:cNvSpPr>
            <a:spLocks noEditPoints="1"/>
          </p:cNvSpPr>
          <p:nvPr/>
        </p:nvSpPr>
        <p:spPr bwMode="auto">
          <a:xfrm>
            <a:off x="715184" y="5547278"/>
            <a:ext cx="311443" cy="332072"/>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50" name="Freeform 14"/>
          <p:cNvSpPr>
            <a:spLocks noEditPoints="1"/>
          </p:cNvSpPr>
          <p:nvPr/>
        </p:nvSpPr>
        <p:spPr bwMode="auto">
          <a:xfrm>
            <a:off x="1455836" y="5547278"/>
            <a:ext cx="311443" cy="332072"/>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51" name="Freeform 14"/>
          <p:cNvSpPr>
            <a:spLocks noEditPoints="1"/>
          </p:cNvSpPr>
          <p:nvPr/>
        </p:nvSpPr>
        <p:spPr bwMode="auto">
          <a:xfrm>
            <a:off x="2196487" y="5547278"/>
            <a:ext cx="311443" cy="332072"/>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52" name="Freeform 14"/>
          <p:cNvSpPr>
            <a:spLocks noEditPoints="1"/>
          </p:cNvSpPr>
          <p:nvPr/>
        </p:nvSpPr>
        <p:spPr bwMode="auto">
          <a:xfrm>
            <a:off x="1081730" y="5950417"/>
            <a:ext cx="311443" cy="332072"/>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53" name="Freeform 14"/>
          <p:cNvSpPr>
            <a:spLocks noEditPoints="1"/>
          </p:cNvSpPr>
          <p:nvPr/>
        </p:nvSpPr>
        <p:spPr bwMode="auto">
          <a:xfrm>
            <a:off x="1822382" y="5950417"/>
            <a:ext cx="311443" cy="332072"/>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54" name="Freeform 14"/>
          <p:cNvSpPr>
            <a:spLocks noEditPoints="1"/>
          </p:cNvSpPr>
          <p:nvPr/>
        </p:nvSpPr>
        <p:spPr bwMode="auto">
          <a:xfrm>
            <a:off x="715184" y="5950417"/>
            <a:ext cx="311443" cy="332072"/>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55" name="Freeform 14"/>
          <p:cNvSpPr>
            <a:spLocks noEditPoints="1"/>
          </p:cNvSpPr>
          <p:nvPr/>
        </p:nvSpPr>
        <p:spPr bwMode="auto">
          <a:xfrm>
            <a:off x="1455836" y="5950417"/>
            <a:ext cx="311443" cy="332072"/>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56" name="Freeform 14"/>
          <p:cNvSpPr>
            <a:spLocks noEditPoints="1"/>
          </p:cNvSpPr>
          <p:nvPr/>
        </p:nvSpPr>
        <p:spPr bwMode="auto">
          <a:xfrm>
            <a:off x="2196487" y="5950417"/>
            <a:ext cx="311443" cy="332072"/>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accent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57" name="Freeform 14"/>
          <p:cNvSpPr>
            <a:spLocks noEditPoints="1"/>
          </p:cNvSpPr>
          <p:nvPr/>
        </p:nvSpPr>
        <p:spPr bwMode="auto">
          <a:xfrm>
            <a:off x="1081730" y="5134356"/>
            <a:ext cx="311443" cy="332072"/>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58" name="Freeform 62"/>
          <p:cNvSpPr>
            <a:spLocks noEditPoints="1"/>
          </p:cNvSpPr>
          <p:nvPr/>
        </p:nvSpPr>
        <p:spPr bwMode="auto">
          <a:xfrm>
            <a:off x="1822382" y="5134356"/>
            <a:ext cx="311443" cy="332072"/>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59" name="Freeform 14"/>
          <p:cNvSpPr>
            <a:spLocks noEditPoints="1"/>
          </p:cNvSpPr>
          <p:nvPr/>
        </p:nvSpPr>
        <p:spPr bwMode="auto">
          <a:xfrm>
            <a:off x="715184" y="5134356"/>
            <a:ext cx="311443" cy="332072"/>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60" name="Freeform 14"/>
          <p:cNvSpPr>
            <a:spLocks noEditPoints="1"/>
          </p:cNvSpPr>
          <p:nvPr/>
        </p:nvSpPr>
        <p:spPr bwMode="auto">
          <a:xfrm>
            <a:off x="1455836" y="5134356"/>
            <a:ext cx="311443" cy="332072"/>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61" name="Freeform 14"/>
          <p:cNvSpPr>
            <a:spLocks noEditPoints="1"/>
          </p:cNvSpPr>
          <p:nvPr/>
        </p:nvSpPr>
        <p:spPr bwMode="auto">
          <a:xfrm>
            <a:off x="2196487" y="5134356"/>
            <a:ext cx="311443" cy="332072"/>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cxnSp>
        <p:nvCxnSpPr>
          <p:cNvPr id="21512" name="Elbow Connector 21511"/>
          <p:cNvCxnSpPr/>
          <p:nvPr/>
        </p:nvCxnSpPr>
        <p:spPr>
          <a:xfrm rot="10800000" flipV="1">
            <a:off x="2507930" y="5700637"/>
            <a:ext cx="463870" cy="415815"/>
          </a:xfrm>
          <a:prstGeom prst="bentConnector3">
            <a:avLst/>
          </a:prstGeom>
          <a:ln w="28575">
            <a:solidFill>
              <a:schemeClr val="tx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5" name="TextBox 74"/>
          <p:cNvSpPr txBox="1"/>
          <p:nvPr/>
        </p:nvSpPr>
        <p:spPr>
          <a:xfrm>
            <a:off x="2964424" y="5300392"/>
            <a:ext cx="1496053" cy="794064"/>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Found the admin</a:t>
            </a:r>
          </a:p>
        </p:txBody>
      </p:sp>
      <p:sp>
        <p:nvSpPr>
          <p:cNvPr id="76" name="Oval 75"/>
          <p:cNvSpPr/>
          <p:nvPr/>
        </p:nvSpPr>
        <p:spPr bwMode="auto">
          <a:xfrm>
            <a:off x="5185224" y="2171268"/>
            <a:ext cx="334490" cy="33449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3</a:t>
            </a:r>
          </a:p>
        </p:txBody>
      </p:sp>
      <p:sp>
        <p:nvSpPr>
          <p:cNvPr id="77" name="Oval 76"/>
          <p:cNvSpPr/>
          <p:nvPr/>
        </p:nvSpPr>
        <p:spPr bwMode="auto">
          <a:xfrm>
            <a:off x="8792829" y="2171268"/>
            <a:ext cx="334490" cy="33449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4</a:t>
            </a:r>
          </a:p>
        </p:txBody>
      </p:sp>
      <p:sp>
        <p:nvSpPr>
          <p:cNvPr id="78" name="TextBox 77"/>
          <p:cNvSpPr txBox="1"/>
          <p:nvPr/>
        </p:nvSpPr>
        <p:spPr>
          <a:xfrm>
            <a:off x="5523676" y="2006676"/>
            <a:ext cx="2965728" cy="1043363"/>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Virtually watched clerks interact with Cash Transfer Systems</a:t>
            </a:r>
          </a:p>
        </p:txBody>
      </p:sp>
      <p:cxnSp>
        <p:nvCxnSpPr>
          <p:cNvPr id="79" name="Straight Connector 78"/>
          <p:cNvCxnSpPr/>
          <p:nvPr/>
        </p:nvCxnSpPr>
        <p:spPr>
          <a:xfrm flipH="1">
            <a:off x="5818776" y="3299237"/>
            <a:ext cx="677274" cy="0"/>
          </a:xfrm>
          <a:prstGeom prst="line">
            <a:avLst/>
          </a:prstGeom>
          <a:ln w="57150">
            <a:solidFill>
              <a:schemeClr val="tx1">
                <a:lumMod val="40000"/>
                <a:lumOff val="6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81" name="Freeform 14"/>
          <p:cNvSpPr>
            <a:spLocks noEditPoints="1"/>
          </p:cNvSpPr>
          <p:nvPr/>
        </p:nvSpPr>
        <p:spPr bwMode="auto">
          <a:xfrm>
            <a:off x="6655481" y="3106232"/>
            <a:ext cx="934087" cy="592589"/>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grpSp>
        <p:nvGrpSpPr>
          <p:cNvPr id="21514" name="Group 21513"/>
          <p:cNvGrpSpPr/>
          <p:nvPr/>
        </p:nvGrpSpPr>
        <p:grpSpPr>
          <a:xfrm>
            <a:off x="8869827" y="3066357"/>
            <a:ext cx="934087" cy="592589"/>
            <a:chOff x="8869827" y="3199707"/>
            <a:chExt cx="934087" cy="592589"/>
          </a:xfrm>
        </p:grpSpPr>
        <p:sp>
          <p:nvSpPr>
            <p:cNvPr id="82" name="Freeform 14"/>
            <p:cNvSpPr>
              <a:spLocks noEditPoints="1"/>
            </p:cNvSpPr>
            <p:nvPr/>
          </p:nvSpPr>
          <p:spPr bwMode="auto">
            <a:xfrm>
              <a:off x="8869827" y="3199707"/>
              <a:ext cx="934087" cy="592589"/>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83" name="Freeform 70"/>
            <p:cNvSpPr>
              <a:spLocks noChangeAspect="1"/>
            </p:cNvSpPr>
            <p:nvPr/>
          </p:nvSpPr>
          <p:spPr bwMode="black">
            <a:xfrm>
              <a:off x="9249660" y="3285105"/>
              <a:ext cx="256200" cy="369710"/>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911" tIns="75929" rIns="94911" bIns="75929" numCol="1" spcCol="0" rtlCol="0" fromWordArt="0" anchor="t" anchorCtr="0" forceAA="0" compatLnSpc="1">
              <a:prstTxWarp prst="textNoShape">
                <a:avLst/>
              </a:prstTxWarp>
              <a:noAutofit/>
            </a:bodyPr>
            <a:lstStyle/>
            <a:p>
              <a:pPr algn="ctr" defTabSz="483924" fontAlgn="base">
                <a:lnSpc>
                  <a:spcPct val="90000"/>
                </a:lnSpc>
                <a:spcBef>
                  <a:spcPct val="0"/>
                </a:spcBef>
                <a:spcAft>
                  <a:spcPct val="0"/>
                </a:spcAft>
              </a:pPr>
              <a:endParaRPr lang="en-US" sz="1246" dirty="0">
                <a:gradFill>
                  <a:gsLst>
                    <a:gs pos="0">
                      <a:srgbClr val="FFFFFF"/>
                    </a:gs>
                    <a:gs pos="100000">
                      <a:srgbClr val="FFFFFF"/>
                    </a:gs>
                  </a:gsLst>
                  <a:lin ang="5400000" scaled="0"/>
                </a:gradFill>
                <a:ea typeface="Segoe UI" pitchFamily="34" charset="0"/>
                <a:cs typeface="Segoe UI" pitchFamily="34" charset="0"/>
              </a:endParaRPr>
            </a:p>
          </p:txBody>
        </p:sp>
      </p:grpSp>
      <p:cxnSp>
        <p:nvCxnSpPr>
          <p:cNvPr id="21516" name="Straight Arrow Connector 21515"/>
          <p:cNvCxnSpPr/>
          <p:nvPr/>
        </p:nvCxnSpPr>
        <p:spPr>
          <a:xfrm>
            <a:off x="9746763" y="3299237"/>
            <a:ext cx="822960" cy="0"/>
          </a:xfrm>
          <a:prstGeom prst="straightConnector1">
            <a:avLst/>
          </a:prstGeom>
          <a:ln w="57150">
            <a:solidFill>
              <a:schemeClr val="tx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517" name="TextBox 21516"/>
          <p:cNvSpPr txBox="1"/>
          <p:nvPr/>
        </p:nvSpPr>
        <p:spPr>
          <a:xfrm>
            <a:off x="10518487" y="2955939"/>
            <a:ext cx="1320619" cy="683264"/>
          </a:xfrm>
          <a:prstGeom prst="rect">
            <a:avLst/>
          </a:prstGeom>
          <a:noFill/>
        </p:spPr>
        <p:txBody>
          <a:bodyPr wrap="square" lIns="182880" tIns="146304" rIns="182880" bIns="146304" rtlCol="0">
            <a:spAutoFit/>
          </a:bodyPr>
          <a:lstStyle/>
          <a:p>
            <a:pPr>
              <a:lnSpc>
                <a:spcPct val="90000"/>
              </a:lnSpc>
              <a:spcAft>
                <a:spcPts val="600"/>
              </a:spcAft>
            </a:pPr>
            <a:r>
              <a:rPr lang="en-US" sz="2800" b="1" dirty="0">
                <a:solidFill>
                  <a:schemeClr val="tx2"/>
                </a:solidFill>
              </a:rPr>
              <a:t>$$$</a:t>
            </a:r>
          </a:p>
        </p:txBody>
      </p:sp>
    </p:spTree>
    <p:extLst>
      <p:ext uri="{BB962C8B-B14F-4D97-AF65-F5344CB8AC3E}">
        <p14:creationId xmlns:p14="http://schemas.microsoft.com/office/powerpoint/2010/main" val="134950436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800" dirty="0" err="1"/>
              <a:t>IoT</a:t>
            </a:r>
            <a:r>
              <a:rPr lang="en-US" sz="4800" dirty="0"/>
              <a:t> Hacks</a:t>
            </a:r>
          </a:p>
        </p:txBody>
      </p:sp>
      <p:sp>
        <p:nvSpPr>
          <p:cNvPr id="4" name="Text Placeholder 1"/>
          <p:cNvSpPr txBox="1">
            <a:spLocks/>
          </p:cNvSpPr>
          <p:nvPr/>
        </p:nvSpPr>
        <p:spPr>
          <a:xfrm>
            <a:off x="269240" y="989559"/>
            <a:ext cx="11653523" cy="849463"/>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dirty="0"/>
              <a:t>With the rise of </a:t>
            </a:r>
            <a:r>
              <a:rPr lang="en-US" sz="2400" b="1" dirty="0">
                <a:solidFill>
                  <a:schemeClr val="tx2"/>
                </a:solidFill>
              </a:rPr>
              <a:t>Internet of Things</a:t>
            </a:r>
            <a:r>
              <a:rPr lang="en-US" sz="2400" dirty="0"/>
              <a:t>, security vulnerabilities are exponentially increased as there are more device entry points</a:t>
            </a:r>
            <a:endParaRPr lang="en-US" sz="2800" dirty="0"/>
          </a:p>
        </p:txBody>
      </p:sp>
      <p:sp>
        <p:nvSpPr>
          <p:cNvPr id="6" name="TextBox 5"/>
          <p:cNvSpPr txBox="1"/>
          <p:nvPr/>
        </p:nvSpPr>
        <p:spPr>
          <a:xfrm>
            <a:off x="6000751" y="2209584"/>
            <a:ext cx="3733800"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tx2"/>
                </a:solidFill>
              </a:rPr>
              <a:t>Consumer setting</a:t>
            </a:r>
          </a:p>
        </p:txBody>
      </p:sp>
      <p:pic>
        <p:nvPicPr>
          <p:cNvPr id="8" name="Picture 7"/>
          <p:cNvPicPr>
            <a:picLocks noChangeAspect="1"/>
          </p:cNvPicPr>
          <p:nvPr/>
        </p:nvPicPr>
        <p:blipFill>
          <a:blip r:embed="rId3">
            <a:clrChange>
              <a:clrFrom>
                <a:srgbClr val="FFFFFF"/>
              </a:clrFrom>
              <a:clrTo>
                <a:srgbClr val="FFFFFF">
                  <a:alpha val="0"/>
                </a:srgbClr>
              </a:clrTo>
            </a:clrChange>
          </a:blip>
          <a:stretch>
            <a:fillRect/>
          </a:stretch>
        </p:blipFill>
        <p:spPr>
          <a:xfrm>
            <a:off x="738190" y="3349453"/>
            <a:ext cx="4381497" cy="3153350"/>
          </a:xfrm>
          <a:prstGeom prst="rect">
            <a:avLst/>
          </a:prstGeom>
        </p:spPr>
      </p:pic>
      <p:sp>
        <p:nvSpPr>
          <p:cNvPr id="7" name="TextBox 6"/>
          <p:cNvSpPr txBox="1"/>
          <p:nvPr/>
        </p:nvSpPr>
        <p:spPr>
          <a:xfrm>
            <a:off x="-142873" y="2209584"/>
            <a:ext cx="3752850"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tx2"/>
                </a:solidFill>
              </a:rPr>
              <a:t>Enterprise Setting</a:t>
            </a:r>
          </a:p>
        </p:txBody>
      </p:sp>
      <p:cxnSp>
        <p:nvCxnSpPr>
          <p:cNvPr id="10" name="Straight Connector 9"/>
          <p:cNvCxnSpPr/>
          <p:nvPr/>
        </p:nvCxnSpPr>
        <p:spPr>
          <a:xfrm>
            <a:off x="6076951" y="2599716"/>
            <a:ext cx="0" cy="3903087"/>
          </a:xfrm>
          <a:prstGeom prst="line">
            <a:avLst/>
          </a:prstGeom>
          <a:ln>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71478" y="2581822"/>
            <a:ext cx="5114922" cy="1126462"/>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Systems and devices are connected across </a:t>
            </a:r>
            <a:r>
              <a:rPr lang="en-US" sz="2000">
                <a:gradFill>
                  <a:gsLst>
                    <a:gs pos="2917">
                      <a:schemeClr val="tx1"/>
                    </a:gs>
                    <a:gs pos="30000">
                      <a:schemeClr val="tx1"/>
                    </a:gs>
                  </a:gsLst>
                  <a:lin ang="5400000" scaled="0"/>
                </a:gradFill>
              </a:rPr>
              <a:t>the enterprise</a:t>
            </a:r>
            <a:r>
              <a:rPr lang="en-US" sz="2000" dirty="0">
                <a:gradFill>
                  <a:gsLst>
                    <a:gs pos="2917">
                      <a:schemeClr val="tx1"/>
                    </a:gs>
                    <a:gs pos="30000">
                      <a:schemeClr val="tx1"/>
                    </a:gs>
                  </a:gsLst>
                  <a:lin ang="5400000" scaled="0"/>
                </a:gradFill>
              </a:rPr>
              <a:t>,</a:t>
            </a:r>
            <a:r>
              <a:rPr lang="en-US" sz="2000">
                <a:gradFill>
                  <a:gsLst>
                    <a:gs pos="2917">
                      <a:schemeClr val="tx1"/>
                    </a:gs>
                    <a:gs pos="30000">
                      <a:schemeClr val="tx1"/>
                    </a:gs>
                  </a:gsLst>
                  <a:lin ang="5400000" scaled="0"/>
                </a:gradFill>
              </a:rPr>
              <a:t> enabling efficiencies and business analysis capabilities</a:t>
            </a:r>
            <a:endParaRPr lang="en-US" sz="2000" dirty="0">
              <a:gradFill>
                <a:gsLst>
                  <a:gs pos="2917">
                    <a:schemeClr val="tx1"/>
                  </a:gs>
                  <a:gs pos="30000">
                    <a:schemeClr val="tx1"/>
                  </a:gs>
                </a:gsLst>
                <a:lin ang="5400000" scaled="0"/>
              </a:gradFill>
            </a:endParaRPr>
          </a:p>
        </p:txBody>
      </p:sp>
      <p:sp>
        <p:nvSpPr>
          <p:cNvPr id="12" name="TextBox 11"/>
          <p:cNvSpPr txBox="1"/>
          <p:nvPr/>
        </p:nvSpPr>
        <p:spPr>
          <a:xfrm>
            <a:off x="6467479" y="2523516"/>
            <a:ext cx="5114922" cy="1126462"/>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Consumers</a:t>
            </a:r>
            <a:r>
              <a:rPr lang="en-US" sz="2000">
                <a:gradFill>
                  <a:gsLst>
                    <a:gs pos="2917">
                      <a:schemeClr val="tx1"/>
                    </a:gs>
                    <a:gs pos="30000">
                      <a:schemeClr val="tx1"/>
                    </a:gs>
                  </a:gsLst>
                  <a:lin ang="5400000" scaled="0"/>
                </a:gradFill>
              </a:rPr>
              <a:t>’ systems and </a:t>
            </a:r>
            <a:r>
              <a:rPr lang="en-US" sz="2000" dirty="0">
                <a:gradFill>
                  <a:gsLst>
                    <a:gs pos="2917">
                      <a:schemeClr val="tx1"/>
                    </a:gs>
                    <a:gs pos="30000">
                      <a:schemeClr val="tx1"/>
                    </a:gs>
                  </a:gsLst>
                  <a:lin ang="5400000" scaled="0"/>
                </a:gradFill>
              </a:rPr>
              <a:t>devices </a:t>
            </a:r>
            <a:r>
              <a:rPr lang="en-US" sz="2000">
                <a:gradFill>
                  <a:gsLst>
                    <a:gs pos="2917">
                      <a:schemeClr val="tx1"/>
                    </a:gs>
                    <a:gs pos="30000">
                      <a:schemeClr val="tx1"/>
                    </a:gs>
                  </a:gsLst>
                  <a:lin ang="5400000" scaled="0"/>
                </a:gradFill>
              </a:rPr>
              <a:t>are </a:t>
            </a:r>
            <a:r>
              <a:rPr lang="en-US" sz="2000" dirty="0">
                <a:gradFill>
                  <a:gsLst>
                    <a:gs pos="2917">
                      <a:schemeClr val="tx1"/>
                    </a:gs>
                    <a:gs pos="30000">
                      <a:schemeClr val="tx1"/>
                    </a:gs>
                  </a:gsLst>
                  <a:lin ang="5400000" scaled="0"/>
                </a:gradFill>
              </a:rPr>
              <a:t>synced</a:t>
            </a:r>
            <a:r>
              <a:rPr lang="en-US" sz="2000">
                <a:gradFill>
                  <a:gsLst>
                    <a:gs pos="2917">
                      <a:schemeClr val="tx1"/>
                    </a:gs>
                    <a:gs pos="30000">
                      <a:schemeClr val="tx1"/>
                    </a:gs>
                  </a:gsLst>
                  <a:lin ang="5400000" scaled="0"/>
                </a:gradFill>
              </a:rPr>
              <a:t> together with the help of the cloud</a:t>
            </a:r>
            <a:endParaRPr lang="en-US" sz="2000" dirty="0">
              <a:gradFill>
                <a:gsLst>
                  <a:gs pos="2917">
                    <a:schemeClr val="tx1"/>
                  </a:gs>
                  <a:gs pos="30000">
                    <a:schemeClr val="tx1"/>
                  </a:gs>
                </a:gsLst>
                <a:lin ang="5400000" scaled="0"/>
              </a:gradFill>
            </a:endParaRPr>
          </a:p>
        </p:txBody>
      </p:sp>
      <p:sp>
        <p:nvSpPr>
          <p:cNvPr id="14" name="Freeform 127"/>
          <p:cNvSpPr>
            <a:spLocks noChangeAspect="1" noEditPoints="1"/>
          </p:cNvSpPr>
          <p:nvPr/>
        </p:nvSpPr>
        <p:spPr bwMode="black">
          <a:xfrm>
            <a:off x="10685430" y="5138842"/>
            <a:ext cx="514954" cy="419440"/>
          </a:xfrm>
          <a:custGeom>
            <a:avLst/>
            <a:gdLst>
              <a:gd name="T0" fmla="*/ 72 w 75"/>
              <a:gd name="T1" fmla="*/ 23 h 61"/>
              <a:gd name="T2" fmla="*/ 71 w 75"/>
              <a:gd name="T3" fmla="*/ 22 h 61"/>
              <a:gd name="T4" fmla="*/ 63 w 75"/>
              <a:gd name="T5" fmla="*/ 3 h 61"/>
              <a:gd name="T6" fmla="*/ 59 w 75"/>
              <a:gd name="T7" fmla="*/ 0 h 61"/>
              <a:gd name="T8" fmla="*/ 16 w 75"/>
              <a:gd name="T9" fmla="*/ 0 h 61"/>
              <a:gd name="T10" fmla="*/ 13 w 75"/>
              <a:gd name="T11" fmla="*/ 3 h 61"/>
              <a:gd name="T12" fmla="*/ 4 w 75"/>
              <a:gd name="T13" fmla="*/ 23 h 61"/>
              <a:gd name="T14" fmla="*/ 0 w 75"/>
              <a:gd name="T15" fmla="*/ 28 h 61"/>
              <a:gd name="T16" fmla="*/ 0 w 75"/>
              <a:gd name="T17" fmla="*/ 45 h 61"/>
              <a:gd name="T18" fmla="*/ 5 w 75"/>
              <a:gd name="T19" fmla="*/ 50 h 61"/>
              <a:gd name="T20" fmla="*/ 10 w 75"/>
              <a:gd name="T21" fmla="*/ 50 h 61"/>
              <a:gd name="T22" fmla="*/ 10 w 75"/>
              <a:gd name="T23" fmla="*/ 56 h 61"/>
              <a:gd name="T24" fmla="*/ 14 w 75"/>
              <a:gd name="T25" fmla="*/ 61 h 61"/>
              <a:gd name="T26" fmla="*/ 19 w 75"/>
              <a:gd name="T27" fmla="*/ 56 h 61"/>
              <a:gd name="T28" fmla="*/ 19 w 75"/>
              <a:gd name="T29" fmla="*/ 50 h 61"/>
              <a:gd name="T30" fmla="*/ 56 w 75"/>
              <a:gd name="T31" fmla="*/ 50 h 61"/>
              <a:gd name="T32" fmla="*/ 56 w 75"/>
              <a:gd name="T33" fmla="*/ 56 h 61"/>
              <a:gd name="T34" fmla="*/ 61 w 75"/>
              <a:gd name="T35" fmla="*/ 61 h 61"/>
              <a:gd name="T36" fmla="*/ 66 w 75"/>
              <a:gd name="T37" fmla="*/ 56 h 61"/>
              <a:gd name="T38" fmla="*/ 66 w 75"/>
              <a:gd name="T39" fmla="*/ 50 h 61"/>
              <a:gd name="T40" fmla="*/ 70 w 75"/>
              <a:gd name="T41" fmla="*/ 50 h 61"/>
              <a:gd name="T42" fmla="*/ 75 w 75"/>
              <a:gd name="T43" fmla="*/ 45 h 61"/>
              <a:gd name="T44" fmla="*/ 75 w 75"/>
              <a:gd name="T45" fmla="*/ 28 h 61"/>
              <a:gd name="T46" fmla="*/ 72 w 75"/>
              <a:gd name="T47" fmla="*/ 23 h 61"/>
              <a:gd name="T48" fmla="*/ 18 w 75"/>
              <a:gd name="T49" fmla="*/ 8 h 61"/>
              <a:gd name="T50" fmla="*/ 57 w 75"/>
              <a:gd name="T51" fmla="*/ 8 h 61"/>
              <a:gd name="T52" fmla="*/ 62 w 75"/>
              <a:gd name="T53" fmla="*/ 20 h 61"/>
              <a:gd name="T54" fmla="*/ 13 w 75"/>
              <a:gd name="T55" fmla="*/ 20 h 61"/>
              <a:gd name="T56" fmla="*/ 18 w 75"/>
              <a:gd name="T57" fmla="*/ 8 h 61"/>
              <a:gd name="T58" fmla="*/ 14 w 75"/>
              <a:gd name="T59" fmla="*/ 38 h 61"/>
              <a:gd name="T60" fmla="*/ 9 w 75"/>
              <a:gd name="T61" fmla="*/ 33 h 61"/>
              <a:gd name="T62" fmla="*/ 14 w 75"/>
              <a:gd name="T63" fmla="*/ 28 h 61"/>
              <a:gd name="T64" fmla="*/ 19 w 75"/>
              <a:gd name="T65" fmla="*/ 33 h 61"/>
              <a:gd name="T66" fmla="*/ 14 w 75"/>
              <a:gd name="T67" fmla="*/ 38 h 61"/>
              <a:gd name="T68" fmla="*/ 61 w 75"/>
              <a:gd name="T69" fmla="*/ 38 h 61"/>
              <a:gd name="T70" fmla="*/ 56 w 75"/>
              <a:gd name="T71" fmla="*/ 33 h 61"/>
              <a:gd name="T72" fmla="*/ 61 w 75"/>
              <a:gd name="T73" fmla="*/ 28 h 61"/>
              <a:gd name="T74" fmla="*/ 67 w 75"/>
              <a:gd name="T75" fmla="*/ 33 h 61"/>
              <a:gd name="T76" fmla="*/ 61 w 75"/>
              <a:gd name="T77"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61">
                <a:moveTo>
                  <a:pt x="72" y="23"/>
                </a:moveTo>
                <a:cubicBezTo>
                  <a:pt x="72" y="22"/>
                  <a:pt x="71" y="22"/>
                  <a:pt x="71" y="22"/>
                </a:cubicBezTo>
                <a:cubicBezTo>
                  <a:pt x="63" y="3"/>
                  <a:pt x="63" y="3"/>
                  <a:pt x="63" y="3"/>
                </a:cubicBezTo>
                <a:cubicBezTo>
                  <a:pt x="62" y="1"/>
                  <a:pt x="61" y="0"/>
                  <a:pt x="59" y="0"/>
                </a:cubicBezTo>
                <a:cubicBezTo>
                  <a:pt x="16" y="0"/>
                  <a:pt x="16" y="0"/>
                  <a:pt x="16" y="0"/>
                </a:cubicBezTo>
                <a:cubicBezTo>
                  <a:pt x="14" y="0"/>
                  <a:pt x="13" y="1"/>
                  <a:pt x="13" y="3"/>
                </a:cubicBezTo>
                <a:cubicBezTo>
                  <a:pt x="4" y="23"/>
                  <a:pt x="4" y="23"/>
                  <a:pt x="4" y="23"/>
                </a:cubicBezTo>
                <a:cubicBezTo>
                  <a:pt x="2" y="23"/>
                  <a:pt x="0" y="25"/>
                  <a:pt x="0" y="28"/>
                </a:cubicBezTo>
                <a:cubicBezTo>
                  <a:pt x="0" y="45"/>
                  <a:pt x="0" y="45"/>
                  <a:pt x="0" y="45"/>
                </a:cubicBezTo>
                <a:cubicBezTo>
                  <a:pt x="0" y="48"/>
                  <a:pt x="2" y="50"/>
                  <a:pt x="5" y="50"/>
                </a:cubicBezTo>
                <a:cubicBezTo>
                  <a:pt x="10" y="50"/>
                  <a:pt x="10" y="50"/>
                  <a:pt x="10" y="50"/>
                </a:cubicBezTo>
                <a:cubicBezTo>
                  <a:pt x="10" y="56"/>
                  <a:pt x="10" y="56"/>
                  <a:pt x="10" y="56"/>
                </a:cubicBezTo>
                <a:cubicBezTo>
                  <a:pt x="10" y="59"/>
                  <a:pt x="12" y="61"/>
                  <a:pt x="14" y="61"/>
                </a:cubicBezTo>
                <a:cubicBezTo>
                  <a:pt x="17" y="61"/>
                  <a:pt x="19" y="59"/>
                  <a:pt x="19" y="56"/>
                </a:cubicBezTo>
                <a:cubicBezTo>
                  <a:pt x="19" y="50"/>
                  <a:pt x="19" y="50"/>
                  <a:pt x="19" y="50"/>
                </a:cubicBezTo>
                <a:cubicBezTo>
                  <a:pt x="56" y="50"/>
                  <a:pt x="56" y="50"/>
                  <a:pt x="56" y="50"/>
                </a:cubicBezTo>
                <a:cubicBezTo>
                  <a:pt x="56" y="56"/>
                  <a:pt x="56" y="56"/>
                  <a:pt x="56" y="56"/>
                </a:cubicBezTo>
                <a:cubicBezTo>
                  <a:pt x="56" y="59"/>
                  <a:pt x="58" y="61"/>
                  <a:pt x="61" y="61"/>
                </a:cubicBezTo>
                <a:cubicBezTo>
                  <a:pt x="64" y="61"/>
                  <a:pt x="66" y="59"/>
                  <a:pt x="66" y="56"/>
                </a:cubicBezTo>
                <a:cubicBezTo>
                  <a:pt x="66" y="50"/>
                  <a:pt x="66" y="50"/>
                  <a:pt x="66" y="50"/>
                </a:cubicBezTo>
                <a:cubicBezTo>
                  <a:pt x="70" y="50"/>
                  <a:pt x="70" y="50"/>
                  <a:pt x="70" y="50"/>
                </a:cubicBezTo>
                <a:cubicBezTo>
                  <a:pt x="73" y="50"/>
                  <a:pt x="75" y="48"/>
                  <a:pt x="75" y="45"/>
                </a:cubicBezTo>
                <a:cubicBezTo>
                  <a:pt x="75" y="28"/>
                  <a:pt x="75" y="28"/>
                  <a:pt x="75" y="28"/>
                </a:cubicBezTo>
                <a:cubicBezTo>
                  <a:pt x="75" y="25"/>
                  <a:pt x="74" y="23"/>
                  <a:pt x="72" y="23"/>
                </a:cubicBezTo>
                <a:close/>
                <a:moveTo>
                  <a:pt x="18" y="8"/>
                </a:moveTo>
                <a:cubicBezTo>
                  <a:pt x="57" y="8"/>
                  <a:pt x="57" y="8"/>
                  <a:pt x="57" y="8"/>
                </a:cubicBezTo>
                <a:cubicBezTo>
                  <a:pt x="62" y="20"/>
                  <a:pt x="62" y="20"/>
                  <a:pt x="62" y="20"/>
                </a:cubicBezTo>
                <a:cubicBezTo>
                  <a:pt x="13" y="20"/>
                  <a:pt x="13" y="20"/>
                  <a:pt x="13" y="20"/>
                </a:cubicBezTo>
                <a:lnTo>
                  <a:pt x="18" y="8"/>
                </a:lnTo>
                <a:close/>
                <a:moveTo>
                  <a:pt x="14" y="38"/>
                </a:moveTo>
                <a:cubicBezTo>
                  <a:pt x="11" y="38"/>
                  <a:pt x="9" y="36"/>
                  <a:pt x="9" y="33"/>
                </a:cubicBezTo>
                <a:cubicBezTo>
                  <a:pt x="9" y="30"/>
                  <a:pt x="11" y="28"/>
                  <a:pt x="14" y="28"/>
                </a:cubicBezTo>
                <a:cubicBezTo>
                  <a:pt x="17" y="28"/>
                  <a:pt x="19" y="30"/>
                  <a:pt x="19" y="33"/>
                </a:cubicBezTo>
                <a:cubicBezTo>
                  <a:pt x="19" y="36"/>
                  <a:pt x="17" y="38"/>
                  <a:pt x="14" y="38"/>
                </a:cubicBezTo>
                <a:close/>
                <a:moveTo>
                  <a:pt x="61" y="38"/>
                </a:moveTo>
                <a:cubicBezTo>
                  <a:pt x="58" y="38"/>
                  <a:pt x="56" y="36"/>
                  <a:pt x="56" y="33"/>
                </a:cubicBezTo>
                <a:cubicBezTo>
                  <a:pt x="56" y="30"/>
                  <a:pt x="58" y="28"/>
                  <a:pt x="61" y="28"/>
                </a:cubicBezTo>
                <a:cubicBezTo>
                  <a:pt x="64" y="28"/>
                  <a:pt x="67" y="30"/>
                  <a:pt x="67" y="33"/>
                </a:cubicBezTo>
                <a:cubicBezTo>
                  <a:pt x="67" y="36"/>
                  <a:pt x="64" y="38"/>
                  <a:pt x="61" y="38"/>
                </a:cubicBezTo>
                <a:close/>
              </a:path>
            </a:pathLst>
          </a:custGeom>
          <a:solidFill>
            <a:schemeClr val="tx2"/>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16" name="Freeform 46"/>
          <p:cNvSpPr>
            <a:spLocks noChangeAspect="1"/>
          </p:cNvSpPr>
          <p:nvPr/>
        </p:nvSpPr>
        <p:spPr bwMode="black">
          <a:xfrm>
            <a:off x="10333354" y="5914279"/>
            <a:ext cx="349744" cy="366468"/>
          </a:xfrm>
          <a:custGeom>
            <a:avLst/>
            <a:gdLst>
              <a:gd name="T0" fmla="*/ 59 w 192"/>
              <a:gd name="T1" fmla="*/ 34 h 201"/>
              <a:gd name="T2" fmla="*/ 59 w 192"/>
              <a:gd name="T3" fmla="*/ 133 h 201"/>
              <a:gd name="T4" fmla="*/ 38 w 192"/>
              <a:gd name="T5" fmla="*/ 126 h 201"/>
              <a:gd name="T6" fmla="*/ 0 w 192"/>
              <a:gd name="T7" fmla="*/ 163 h 201"/>
              <a:gd name="T8" fmla="*/ 38 w 192"/>
              <a:gd name="T9" fmla="*/ 201 h 201"/>
              <a:gd name="T10" fmla="*/ 75 w 192"/>
              <a:gd name="T11" fmla="*/ 163 h 201"/>
              <a:gd name="T12" fmla="*/ 75 w 192"/>
              <a:gd name="T13" fmla="*/ 75 h 201"/>
              <a:gd name="T14" fmla="*/ 177 w 192"/>
              <a:gd name="T15" fmla="*/ 54 h 201"/>
              <a:gd name="T16" fmla="*/ 176 w 192"/>
              <a:gd name="T17" fmla="*/ 54 h 201"/>
              <a:gd name="T18" fmla="*/ 176 w 192"/>
              <a:gd name="T19" fmla="*/ 105 h 201"/>
              <a:gd name="T20" fmla="*/ 155 w 192"/>
              <a:gd name="T21" fmla="*/ 98 h 201"/>
              <a:gd name="T22" fmla="*/ 117 w 192"/>
              <a:gd name="T23" fmla="*/ 136 h 201"/>
              <a:gd name="T24" fmla="*/ 155 w 192"/>
              <a:gd name="T25" fmla="*/ 173 h 201"/>
              <a:gd name="T26" fmla="*/ 192 w 192"/>
              <a:gd name="T27" fmla="*/ 136 h 201"/>
              <a:gd name="T28" fmla="*/ 192 w 192"/>
              <a:gd name="T29" fmla="*/ 9 h 201"/>
              <a:gd name="T30" fmla="*/ 181 w 192"/>
              <a:gd name="T31" fmla="*/ 1 h 201"/>
              <a:gd name="T32" fmla="*/ 66 w 192"/>
              <a:gd name="T33" fmla="*/ 25 h 201"/>
              <a:gd name="T34" fmla="*/ 59 w 192"/>
              <a:gd name="T35" fmla="*/ 34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201">
                <a:moveTo>
                  <a:pt x="59" y="34"/>
                </a:moveTo>
                <a:cubicBezTo>
                  <a:pt x="59" y="133"/>
                  <a:pt x="59" y="133"/>
                  <a:pt x="59" y="133"/>
                </a:cubicBezTo>
                <a:cubicBezTo>
                  <a:pt x="53" y="129"/>
                  <a:pt x="46" y="126"/>
                  <a:pt x="38" y="126"/>
                </a:cubicBezTo>
                <a:cubicBezTo>
                  <a:pt x="17" y="126"/>
                  <a:pt x="0" y="143"/>
                  <a:pt x="0" y="163"/>
                </a:cubicBezTo>
                <a:cubicBezTo>
                  <a:pt x="0" y="184"/>
                  <a:pt x="17" y="201"/>
                  <a:pt x="38" y="201"/>
                </a:cubicBezTo>
                <a:cubicBezTo>
                  <a:pt x="58" y="201"/>
                  <a:pt x="75" y="184"/>
                  <a:pt x="75" y="163"/>
                </a:cubicBezTo>
                <a:cubicBezTo>
                  <a:pt x="75" y="163"/>
                  <a:pt x="75" y="75"/>
                  <a:pt x="75" y="75"/>
                </a:cubicBezTo>
                <a:cubicBezTo>
                  <a:pt x="177" y="54"/>
                  <a:pt x="177" y="54"/>
                  <a:pt x="177" y="54"/>
                </a:cubicBezTo>
                <a:cubicBezTo>
                  <a:pt x="177" y="54"/>
                  <a:pt x="176" y="54"/>
                  <a:pt x="176" y="54"/>
                </a:cubicBezTo>
                <a:cubicBezTo>
                  <a:pt x="176" y="105"/>
                  <a:pt x="176" y="105"/>
                  <a:pt x="176" y="105"/>
                </a:cubicBezTo>
                <a:cubicBezTo>
                  <a:pt x="170" y="101"/>
                  <a:pt x="163" y="98"/>
                  <a:pt x="155" y="98"/>
                </a:cubicBezTo>
                <a:cubicBezTo>
                  <a:pt x="134" y="98"/>
                  <a:pt x="117" y="115"/>
                  <a:pt x="117" y="136"/>
                </a:cubicBezTo>
                <a:cubicBezTo>
                  <a:pt x="117" y="156"/>
                  <a:pt x="134" y="173"/>
                  <a:pt x="155" y="173"/>
                </a:cubicBezTo>
                <a:cubicBezTo>
                  <a:pt x="175" y="173"/>
                  <a:pt x="192" y="156"/>
                  <a:pt x="192" y="136"/>
                </a:cubicBezTo>
                <a:cubicBezTo>
                  <a:pt x="192" y="136"/>
                  <a:pt x="192" y="42"/>
                  <a:pt x="192" y="9"/>
                </a:cubicBezTo>
                <a:cubicBezTo>
                  <a:pt x="192" y="3"/>
                  <a:pt x="187" y="0"/>
                  <a:pt x="181" y="1"/>
                </a:cubicBezTo>
                <a:cubicBezTo>
                  <a:pt x="66" y="25"/>
                  <a:pt x="66" y="25"/>
                  <a:pt x="66" y="25"/>
                </a:cubicBezTo>
                <a:cubicBezTo>
                  <a:pt x="63" y="26"/>
                  <a:pt x="59" y="30"/>
                  <a:pt x="59" y="34"/>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911" tIns="75929" rIns="94911" bIns="75929" numCol="1" spcCol="0" rtlCol="0" fromWordArt="0" anchor="t" anchorCtr="0" forceAA="0" compatLnSpc="1">
            <a:prstTxWarp prst="textNoShape">
              <a:avLst/>
            </a:prstTxWarp>
            <a:noAutofit/>
          </a:bodyPr>
          <a:lstStyle/>
          <a:p>
            <a:pPr algn="ctr" defTabSz="483924" fontAlgn="base">
              <a:lnSpc>
                <a:spcPct val="90000"/>
              </a:lnSpc>
              <a:spcBef>
                <a:spcPct val="0"/>
              </a:spcBef>
              <a:spcAft>
                <a:spcPct val="0"/>
              </a:spcAft>
            </a:pPr>
            <a:endParaRPr lang="en-US" sz="1246" dirty="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3"/>
          <p:cNvSpPr>
            <a:spLocks noChangeAspect="1" noEditPoints="1"/>
          </p:cNvSpPr>
          <p:nvPr/>
        </p:nvSpPr>
        <p:spPr bwMode="black">
          <a:xfrm>
            <a:off x="8585399" y="6122102"/>
            <a:ext cx="244519" cy="459109"/>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8"/>
          <p:cNvSpPr>
            <a:spLocks noChangeAspect="1"/>
          </p:cNvSpPr>
          <p:nvPr/>
        </p:nvSpPr>
        <p:spPr bwMode="black">
          <a:xfrm flipH="1">
            <a:off x="9391270" y="6122102"/>
            <a:ext cx="640080" cy="410793"/>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chemeClr val="tx1"/>
              </a:solidFill>
            </a:endParaRPr>
          </a:p>
        </p:txBody>
      </p:sp>
      <p:sp>
        <p:nvSpPr>
          <p:cNvPr id="20" name="Freeform 19"/>
          <p:cNvSpPr>
            <a:spLocks noChangeAspect="1"/>
          </p:cNvSpPr>
          <p:nvPr/>
        </p:nvSpPr>
        <p:spPr bwMode="black">
          <a:xfrm>
            <a:off x="7750563" y="5822766"/>
            <a:ext cx="546967" cy="528890"/>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1" name="Group 1"/>
          <p:cNvGrpSpPr/>
          <p:nvPr/>
        </p:nvGrpSpPr>
        <p:grpSpPr bwMode="black">
          <a:xfrm>
            <a:off x="7323782" y="5023586"/>
            <a:ext cx="543869" cy="534696"/>
            <a:chOff x="2057400" y="2063082"/>
            <a:chExt cx="1338263" cy="1316037"/>
          </a:xfrm>
          <a:solidFill>
            <a:schemeClr val="tx2"/>
          </a:solidFill>
        </p:grpSpPr>
        <p:sp>
          <p:nvSpPr>
            <p:cNvPr id="22" name="Freeform 139"/>
            <p:cNvSpPr>
              <a:spLocks noEditPoints="1"/>
            </p:cNvSpPr>
            <p:nvPr/>
          </p:nvSpPr>
          <p:spPr bwMode="black">
            <a:xfrm>
              <a:off x="2057400" y="2434558"/>
              <a:ext cx="1338263" cy="633413"/>
            </a:xfrm>
            <a:custGeom>
              <a:avLst/>
              <a:gdLst>
                <a:gd name="T0" fmla="*/ 332 w 357"/>
                <a:gd name="T1" fmla="*/ 0 h 169"/>
                <a:gd name="T2" fmla="*/ 26 w 357"/>
                <a:gd name="T3" fmla="*/ 0 h 169"/>
                <a:gd name="T4" fmla="*/ 0 w 357"/>
                <a:gd name="T5" fmla="*/ 25 h 169"/>
                <a:gd name="T6" fmla="*/ 0 w 357"/>
                <a:gd name="T7" fmla="*/ 144 h 169"/>
                <a:gd name="T8" fmla="*/ 26 w 357"/>
                <a:gd name="T9" fmla="*/ 169 h 169"/>
                <a:gd name="T10" fmla="*/ 70 w 357"/>
                <a:gd name="T11" fmla="*/ 169 h 169"/>
                <a:gd name="T12" fmla="*/ 70 w 357"/>
                <a:gd name="T13" fmla="*/ 90 h 169"/>
                <a:gd name="T14" fmla="*/ 288 w 357"/>
                <a:gd name="T15" fmla="*/ 90 h 169"/>
                <a:gd name="T16" fmla="*/ 288 w 357"/>
                <a:gd name="T17" fmla="*/ 169 h 169"/>
                <a:gd name="T18" fmla="*/ 332 w 357"/>
                <a:gd name="T19" fmla="*/ 169 h 169"/>
                <a:gd name="T20" fmla="*/ 357 w 357"/>
                <a:gd name="T21" fmla="*/ 144 h 169"/>
                <a:gd name="T22" fmla="*/ 357 w 357"/>
                <a:gd name="T23" fmla="*/ 25 h 169"/>
                <a:gd name="T24" fmla="*/ 332 w 357"/>
                <a:gd name="T25" fmla="*/ 0 h 169"/>
                <a:gd name="T26" fmla="*/ 319 w 357"/>
                <a:gd name="T27" fmla="*/ 56 h 169"/>
                <a:gd name="T28" fmla="*/ 308 w 357"/>
                <a:gd name="T29" fmla="*/ 45 h 169"/>
                <a:gd name="T30" fmla="*/ 319 w 357"/>
                <a:gd name="T31" fmla="*/ 34 h 169"/>
                <a:gd name="T32" fmla="*/ 330 w 357"/>
                <a:gd name="T33" fmla="*/ 45 h 169"/>
                <a:gd name="T34" fmla="*/ 319 w 357"/>
                <a:gd name="T35" fmla="*/ 5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7" h="169">
                  <a:moveTo>
                    <a:pt x="332" y="0"/>
                  </a:moveTo>
                  <a:cubicBezTo>
                    <a:pt x="26" y="0"/>
                    <a:pt x="26" y="0"/>
                    <a:pt x="26" y="0"/>
                  </a:cubicBezTo>
                  <a:cubicBezTo>
                    <a:pt x="12" y="0"/>
                    <a:pt x="0" y="11"/>
                    <a:pt x="0" y="25"/>
                  </a:cubicBezTo>
                  <a:cubicBezTo>
                    <a:pt x="0" y="144"/>
                    <a:pt x="0" y="144"/>
                    <a:pt x="0" y="144"/>
                  </a:cubicBezTo>
                  <a:cubicBezTo>
                    <a:pt x="0" y="158"/>
                    <a:pt x="12" y="169"/>
                    <a:pt x="26" y="169"/>
                  </a:cubicBezTo>
                  <a:cubicBezTo>
                    <a:pt x="70" y="169"/>
                    <a:pt x="70" y="169"/>
                    <a:pt x="70" y="169"/>
                  </a:cubicBezTo>
                  <a:cubicBezTo>
                    <a:pt x="70" y="90"/>
                    <a:pt x="70" y="90"/>
                    <a:pt x="70" y="90"/>
                  </a:cubicBezTo>
                  <a:cubicBezTo>
                    <a:pt x="288" y="90"/>
                    <a:pt x="288" y="90"/>
                    <a:pt x="288" y="90"/>
                  </a:cubicBezTo>
                  <a:cubicBezTo>
                    <a:pt x="288" y="169"/>
                    <a:pt x="288" y="169"/>
                    <a:pt x="288" y="169"/>
                  </a:cubicBezTo>
                  <a:cubicBezTo>
                    <a:pt x="332" y="169"/>
                    <a:pt x="332" y="169"/>
                    <a:pt x="332" y="169"/>
                  </a:cubicBezTo>
                  <a:cubicBezTo>
                    <a:pt x="346" y="169"/>
                    <a:pt x="357" y="158"/>
                    <a:pt x="357" y="144"/>
                  </a:cubicBezTo>
                  <a:cubicBezTo>
                    <a:pt x="357" y="25"/>
                    <a:pt x="357" y="25"/>
                    <a:pt x="357" y="25"/>
                  </a:cubicBezTo>
                  <a:cubicBezTo>
                    <a:pt x="357" y="11"/>
                    <a:pt x="346" y="0"/>
                    <a:pt x="332" y="0"/>
                  </a:cubicBezTo>
                  <a:close/>
                  <a:moveTo>
                    <a:pt x="319" y="56"/>
                  </a:moveTo>
                  <a:cubicBezTo>
                    <a:pt x="313" y="56"/>
                    <a:pt x="308" y="51"/>
                    <a:pt x="308" y="45"/>
                  </a:cubicBezTo>
                  <a:cubicBezTo>
                    <a:pt x="308" y="39"/>
                    <a:pt x="313" y="34"/>
                    <a:pt x="319" y="34"/>
                  </a:cubicBezTo>
                  <a:cubicBezTo>
                    <a:pt x="325" y="34"/>
                    <a:pt x="330" y="39"/>
                    <a:pt x="330" y="45"/>
                  </a:cubicBezTo>
                  <a:cubicBezTo>
                    <a:pt x="330" y="51"/>
                    <a:pt x="325" y="56"/>
                    <a:pt x="319"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3" name="Freeform 140"/>
            <p:cNvSpPr>
              <a:spLocks noEditPoints="1"/>
            </p:cNvSpPr>
            <p:nvPr/>
          </p:nvSpPr>
          <p:spPr bwMode="black">
            <a:xfrm>
              <a:off x="2379663" y="2756819"/>
              <a:ext cx="693738" cy="622300"/>
            </a:xfrm>
            <a:custGeom>
              <a:avLst/>
              <a:gdLst>
                <a:gd name="T0" fmla="*/ 0 w 185"/>
                <a:gd name="T1" fmla="*/ 0 h 166"/>
                <a:gd name="T2" fmla="*/ 0 w 185"/>
                <a:gd name="T3" fmla="*/ 126 h 166"/>
                <a:gd name="T4" fmla="*/ 41 w 185"/>
                <a:gd name="T5" fmla="*/ 166 h 166"/>
                <a:gd name="T6" fmla="*/ 185 w 185"/>
                <a:gd name="T7" fmla="*/ 166 h 166"/>
                <a:gd name="T8" fmla="*/ 185 w 185"/>
                <a:gd name="T9" fmla="*/ 0 h 166"/>
                <a:gd name="T10" fmla="*/ 0 w 185"/>
                <a:gd name="T11" fmla="*/ 0 h 166"/>
                <a:gd name="T12" fmla="*/ 162 w 185"/>
                <a:gd name="T13" fmla="*/ 144 h 166"/>
                <a:gd name="T14" fmla="*/ 69 w 185"/>
                <a:gd name="T15" fmla="*/ 144 h 166"/>
                <a:gd name="T16" fmla="*/ 69 w 185"/>
                <a:gd name="T17" fmla="*/ 116 h 166"/>
                <a:gd name="T18" fmla="*/ 51 w 185"/>
                <a:gd name="T19" fmla="*/ 98 h 166"/>
                <a:gd name="T20" fmla="*/ 23 w 185"/>
                <a:gd name="T21" fmla="*/ 98 h 166"/>
                <a:gd name="T22" fmla="*/ 23 w 185"/>
                <a:gd name="T23" fmla="*/ 4 h 166"/>
                <a:gd name="T24" fmla="*/ 162 w 185"/>
                <a:gd name="T25" fmla="*/ 4 h 166"/>
                <a:gd name="T26" fmla="*/ 162 w 185"/>
                <a:gd name="T27" fmla="*/ 14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5" h="166">
                  <a:moveTo>
                    <a:pt x="0" y="0"/>
                  </a:moveTo>
                  <a:cubicBezTo>
                    <a:pt x="0" y="126"/>
                    <a:pt x="0" y="126"/>
                    <a:pt x="0" y="126"/>
                  </a:cubicBezTo>
                  <a:cubicBezTo>
                    <a:pt x="41" y="166"/>
                    <a:pt x="41" y="166"/>
                    <a:pt x="41" y="166"/>
                  </a:cubicBezTo>
                  <a:cubicBezTo>
                    <a:pt x="185" y="166"/>
                    <a:pt x="185" y="166"/>
                    <a:pt x="185" y="166"/>
                  </a:cubicBezTo>
                  <a:cubicBezTo>
                    <a:pt x="185" y="0"/>
                    <a:pt x="185" y="0"/>
                    <a:pt x="185" y="0"/>
                  </a:cubicBezTo>
                  <a:lnTo>
                    <a:pt x="0" y="0"/>
                  </a:lnTo>
                  <a:close/>
                  <a:moveTo>
                    <a:pt x="162" y="144"/>
                  </a:moveTo>
                  <a:cubicBezTo>
                    <a:pt x="154" y="144"/>
                    <a:pt x="77" y="144"/>
                    <a:pt x="69" y="144"/>
                  </a:cubicBezTo>
                  <a:cubicBezTo>
                    <a:pt x="69" y="138"/>
                    <a:pt x="69" y="116"/>
                    <a:pt x="69" y="116"/>
                  </a:cubicBezTo>
                  <a:cubicBezTo>
                    <a:pt x="69" y="104"/>
                    <a:pt x="63" y="98"/>
                    <a:pt x="51" y="98"/>
                  </a:cubicBezTo>
                  <a:cubicBezTo>
                    <a:pt x="51" y="98"/>
                    <a:pt x="29" y="98"/>
                    <a:pt x="23" y="98"/>
                  </a:cubicBezTo>
                  <a:cubicBezTo>
                    <a:pt x="23" y="90"/>
                    <a:pt x="23" y="4"/>
                    <a:pt x="23" y="4"/>
                  </a:cubicBezTo>
                  <a:cubicBezTo>
                    <a:pt x="162" y="4"/>
                    <a:pt x="162" y="4"/>
                    <a:pt x="162" y="4"/>
                  </a:cubicBezTo>
                  <a:cubicBezTo>
                    <a:pt x="162" y="4"/>
                    <a:pt x="162" y="135"/>
                    <a:pt x="162"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4" name="Rectangle 141"/>
            <p:cNvSpPr>
              <a:spLocks noChangeArrowheads="1"/>
            </p:cNvSpPr>
            <p:nvPr/>
          </p:nvSpPr>
          <p:spPr bwMode="black">
            <a:xfrm>
              <a:off x="2538413" y="2858419"/>
              <a:ext cx="396875" cy="523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5" name="Rectangle 142"/>
            <p:cNvSpPr>
              <a:spLocks noChangeArrowheads="1"/>
            </p:cNvSpPr>
            <p:nvPr/>
          </p:nvSpPr>
          <p:spPr bwMode="black">
            <a:xfrm>
              <a:off x="2538413" y="2996532"/>
              <a:ext cx="396875" cy="523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6" name="Freeform 143"/>
            <p:cNvSpPr>
              <a:spLocks/>
            </p:cNvSpPr>
            <p:nvPr/>
          </p:nvSpPr>
          <p:spPr bwMode="black">
            <a:xfrm>
              <a:off x="2320925" y="2063082"/>
              <a:ext cx="815975" cy="311150"/>
            </a:xfrm>
            <a:custGeom>
              <a:avLst/>
              <a:gdLst>
                <a:gd name="T0" fmla="*/ 0 w 218"/>
                <a:gd name="T1" fmla="*/ 83 h 83"/>
                <a:gd name="T2" fmla="*/ 0 w 218"/>
                <a:gd name="T3" fmla="*/ 13 h 83"/>
                <a:gd name="T4" fmla="*/ 12 w 218"/>
                <a:gd name="T5" fmla="*/ 0 h 83"/>
                <a:gd name="T6" fmla="*/ 205 w 218"/>
                <a:gd name="T7" fmla="*/ 0 h 83"/>
                <a:gd name="T8" fmla="*/ 218 w 218"/>
                <a:gd name="T9" fmla="*/ 13 h 83"/>
                <a:gd name="T10" fmla="*/ 218 w 218"/>
                <a:gd name="T11" fmla="*/ 83 h 83"/>
                <a:gd name="T12" fmla="*/ 0 w 218"/>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218" h="83">
                  <a:moveTo>
                    <a:pt x="0" y="83"/>
                  </a:moveTo>
                  <a:cubicBezTo>
                    <a:pt x="0" y="13"/>
                    <a:pt x="0" y="13"/>
                    <a:pt x="0" y="13"/>
                  </a:cubicBezTo>
                  <a:cubicBezTo>
                    <a:pt x="0" y="6"/>
                    <a:pt x="5" y="0"/>
                    <a:pt x="12" y="0"/>
                  </a:cubicBezTo>
                  <a:cubicBezTo>
                    <a:pt x="205" y="0"/>
                    <a:pt x="205" y="0"/>
                    <a:pt x="205" y="0"/>
                  </a:cubicBezTo>
                  <a:cubicBezTo>
                    <a:pt x="212" y="0"/>
                    <a:pt x="218" y="6"/>
                    <a:pt x="218" y="13"/>
                  </a:cubicBezTo>
                  <a:cubicBezTo>
                    <a:pt x="218" y="83"/>
                    <a:pt x="218" y="83"/>
                    <a:pt x="218" y="83"/>
                  </a:cubicBezTo>
                  <a:lnTo>
                    <a:pt x="0"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27" name="Freeform 85"/>
          <p:cNvSpPr>
            <a:spLocks noEditPoints="1"/>
          </p:cNvSpPr>
          <p:nvPr/>
        </p:nvSpPr>
        <p:spPr bwMode="black">
          <a:xfrm>
            <a:off x="8661420" y="3706496"/>
            <a:ext cx="1116319" cy="1851786"/>
          </a:xfrm>
          <a:custGeom>
            <a:avLst/>
            <a:gdLst>
              <a:gd name="T0" fmla="*/ 1222 w 1490"/>
              <a:gd name="T1" fmla="*/ 199 h 2432"/>
              <a:gd name="T2" fmla="*/ 1082 w 1490"/>
              <a:gd name="T3" fmla="*/ 239 h 2432"/>
              <a:gd name="T4" fmla="*/ 705 w 1490"/>
              <a:gd name="T5" fmla="*/ 0 h 2432"/>
              <a:gd name="T6" fmla="*/ 298 w 1490"/>
              <a:gd name="T7" fmla="*/ 326 h 2432"/>
              <a:gd name="T8" fmla="*/ 214 w 1490"/>
              <a:gd name="T9" fmla="*/ 309 h 2432"/>
              <a:gd name="T10" fmla="*/ 0 w 1490"/>
              <a:gd name="T11" fmla="*/ 522 h 2432"/>
              <a:gd name="T12" fmla="*/ 214 w 1490"/>
              <a:gd name="T13" fmla="*/ 736 h 2432"/>
              <a:gd name="T14" fmla="*/ 1222 w 1490"/>
              <a:gd name="T15" fmla="*/ 736 h 2432"/>
              <a:gd name="T16" fmla="*/ 1490 w 1490"/>
              <a:gd name="T17" fmla="*/ 467 h 2432"/>
              <a:gd name="T18" fmla="*/ 1222 w 1490"/>
              <a:gd name="T19" fmla="*/ 199 h 2432"/>
              <a:gd name="T20" fmla="*/ 318 w 1490"/>
              <a:gd name="T21" fmla="*/ 2032 h 2432"/>
              <a:gd name="T22" fmla="*/ 318 w 1490"/>
              <a:gd name="T23" fmla="*/ 2398 h 2432"/>
              <a:gd name="T24" fmla="*/ 351 w 1490"/>
              <a:gd name="T25" fmla="*/ 2432 h 2432"/>
              <a:gd name="T26" fmla="*/ 605 w 1490"/>
              <a:gd name="T27" fmla="*/ 2432 h 2432"/>
              <a:gd name="T28" fmla="*/ 605 w 1490"/>
              <a:gd name="T29" fmla="*/ 2091 h 2432"/>
              <a:gd name="T30" fmla="*/ 639 w 1490"/>
              <a:gd name="T31" fmla="*/ 2058 h 2432"/>
              <a:gd name="T32" fmla="*/ 852 w 1490"/>
              <a:gd name="T33" fmla="*/ 2058 h 2432"/>
              <a:gd name="T34" fmla="*/ 886 w 1490"/>
              <a:gd name="T35" fmla="*/ 2091 h 2432"/>
              <a:gd name="T36" fmla="*/ 886 w 1490"/>
              <a:gd name="T37" fmla="*/ 2432 h 2432"/>
              <a:gd name="T38" fmla="*/ 1140 w 1490"/>
              <a:gd name="T39" fmla="*/ 2432 h 2432"/>
              <a:gd name="T40" fmla="*/ 1173 w 1490"/>
              <a:gd name="T41" fmla="*/ 2398 h 2432"/>
              <a:gd name="T42" fmla="*/ 1173 w 1490"/>
              <a:gd name="T43" fmla="*/ 2032 h 2432"/>
              <a:gd name="T44" fmla="*/ 745 w 1490"/>
              <a:gd name="T45" fmla="*/ 1657 h 2432"/>
              <a:gd name="T46" fmla="*/ 318 w 1490"/>
              <a:gd name="T47" fmla="*/ 2032 h 2432"/>
              <a:gd name="T48" fmla="*/ 1086 w 1490"/>
              <a:gd name="T49" fmla="*/ 1483 h 2432"/>
              <a:gd name="T50" fmla="*/ 926 w 1490"/>
              <a:gd name="T51" fmla="*/ 1483 h 2432"/>
              <a:gd name="T52" fmla="*/ 926 w 1490"/>
              <a:gd name="T53" fmla="*/ 1601 h 2432"/>
              <a:gd name="T54" fmla="*/ 745 w 1490"/>
              <a:gd name="T55" fmla="*/ 1443 h 2432"/>
              <a:gd name="T56" fmla="*/ 198 w 1490"/>
              <a:gd name="T57" fmla="*/ 1924 h 2432"/>
              <a:gd name="T58" fmla="*/ 198 w 1490"/>
              <a:gd name="T59" fmla="*/ 2071 h 2432"/>
              <a:gd name="T60" fmla="*/ 745 w 1490"/>
              <a:gd name="T61" fmla="*/ 1590 h 2432"/>
              <a:gd name="T62" fmla="*/ 1293 w 1490"/>
              <a:gd name="T63" fmla="*/ 2071 h 2432"/>
              <a:gd name="T64" fmla="*/ 1293 w 1490"/>
              <a:gd name="T65" fmla="*/ 1924 h 2432"/>
              <a:gd name="T66" fmla="*/ 1086 w 1490"/>
              <a:gd name="T67" fmla="*/ 1742 h 2432"/>
              <a:gd name="T68" fmla="*/ 1086 w 1490"/>
              <a:gd name="T69" fmla="*/ 1483 h 2432"/>
              <a:gd name="T70" fmla="*/ 745 w 1490"/>
              <a:gd name="T71" fmla="*/ 1287 h 2432"/>
              <a:gd name="T72" fmla="*/ 1091 w 1490"/>
              <a:gd name="T73" fmla="*/ 1085 h 2432"/>
              <a:gd name="T74" fmla="*/ 745 w 1490"/>
              <a:gd name="T75" fmla="*/ 1228 h 2432"/>
              <a:gd name="T76" fmla="*/ 400 w 1490"/>
              <a:gd name="T77" fmla="*/ 1085 h 2432"/>
              <a:gd name="T78" fmla="*/ 745 w 1490"/>
              <a:gd name="T79" fmla="*/ 1287 h 2432"/>
              <a:gd name="T80" fmla="*/ 745 w 1490"/>
              <a:gd name="T81" fmla="*/ 1115 h 2432"/>
              <a:gd name="T82" fmla="*/ 982 w 1490"/>
              <a:gd name="T83" fmla="*/ 959 h 2432"/>
              <a:gd name="T84" fmla="*/ 745 w 1490"/>
              <a:gd name="T85" fmla="*/ 1063 h 2432"/>
              <a:gd name="T86" fmla="*/ 509 w 1490"/>
              <a:gd name="T87" fmla="*/ 959 h 2432"/>
              <a:gd name="T88" fmla="*/ 745 w 1490"/>
              <a:gd name="T89" fmla="*/ 1115 h 2432"/>
              <a:gd name="T90" fmla="*/ 883 w 1490"/>
              <a:gd name="T91" fmla="*/ 866 h 2432"/>
              <a:gd name="T92" fmla="*/ 745 w 1490"/>
              <a:gd name="T93" fmla="*/ 923 h 2432"/>
              <a:gd name="T94" fmla="*/ 608 w 1490"/>
              <a:gd name="T95" fmla="*/ 866 h 2432"/>
              <a:gd name="T96" fmla="*/ 745 w 1490"/>
              <a:gd name="T97" fmla="*/ 969 h 2432"/>
              <a:gd name="T98" fmla="*/ 883 w 1490"/>
              <a:gd name="T99" fmla="*/ 866 h 2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90" h="2432">
                <a:moveTo>
                  <a:pt x="1222" y="199"/>
                </a:moveTo>
                <a:cubicBezTo>
                  <a:pt x="1171" y="199"/>
                  <a:pt x="1123" y="214"/>
                  <a:pt x="1082" y="239"/>
                </a:cubicBezTo>
                <a:cubicBezTo>
                  <a:pt x="1015" y="98"/>
                  <a:pt x="871" y="0"/>
                  <a:pt x="705" y="0"/>
                </a:cubicBezTo>
                <a:cubicBezTo>
                  <a:pt x="506" y="0"/>
                  <a:pt x="340" y="140"/>
                  <a:pt x="298" y="326"/>
                </a:cubicBezTo>
                <a:cubicBezTo>
                  <a:pt x="272" y="315"/>
                  <a:pt x="244" y="309"/>
                  <a:pt x="214" y="309"/>
                </a:cubicBezTo>
                <a:cubicBezTo>
                  <a:pt x="96" y="309"/>
                  <a:pt x="0" y="404"/>
                  <a:pt x="0" y="522"/>
                </a:cubicBezTo>
                <a:cubicBezTo>
                  <a:pt x="0" y="640"/>
                  <a:pt x="96" y="736"/>
                  <a:pt x="214" y="736"/>
                </a:cubicBezTo>
                <a:cubicBezTo>
                  <a:pt x="1222" y="736"/>
                  <a:pt x="1222" y="736"/>
                  <a:pt x="1222" y="736"/>
                </a:cubicBezTo>
                <a:cubicBezTo>
                  <a:pt x="1370" y="736"/>
                  <a:pt x="1490" y="616"/>
                  <a:pt x="1490" y="467"/>
                </a:cubicBezTo>
                <a:cubicBezTo>
                  <a:pt x="1490" y="319"/>
                  <a:pt x="1370" y="199"/>
                  <a:pt x="1222" y="199"/>
                </a:cubicBezTo>
                <a:close/>
                <a:moveTo>
                  <a:pt x="318" y="2032"/>
                </a:moveTo>
                <a:cubicBezTo>
                  <a:pt x="318" y="2398"/>
                  <a:pt x="318" y="2398"/>
                  <a:pt x="318" y="2398"/>
                </a:cubicBezTo>
                <a:cubicBezTo>
                  <a:pt x="318" y="2417"/>
                  <a:pt x="333" y="2432"/>
                  <a:pt x="351" y="2432"/>
                </a:cubicBezTo>
                <a:cubicBezTo>
                  <a:pt x="605" y="2432"/>
                  <a:pt x="605" y="2432"/>
                  <a:pt x="605" y="2432"/>
                </a:cubicBezTo>
                <a:cubicBezTo>
                  <a:pt x="605" y="2091"/>
                  <a:pt x="605" y="2091"/>
                  <a:pt x="605" y="2091"/>
                </a:cubicBezTo>
                <a:cubicBezTo>
                  <a:pt x="605" y="2073"/>
                  <a:pt x="620" y="2058"/>
                  <a:pt x="639" y="2058"/>
                </a:cubicBezTo>
                <a:cubicBezTo>
                  <a:pt x="852" y="2058"/>
                  <a:pt x="852" y="2058"/>
                  <a:pt x="852" y="2058"/>
                </a:cubicBezTo>
                <a:cubicBezTo>
                  <a:pt x="871" y="2058"/>
                  <a:pt x="886" y="2073"/>
                  <a:pt x="886" y="2091"/>
                </a:cubicBezTo>
                <a:cubicBezTo>
                  <a:pt x="886" y="2432"/>
                  <a:pt x="886" y="2432"/>
                  <a:pt x="886" y="2432"/>
                </a:cubicBezTo>
                <a:cubicBezTo>
                  <a:pt x="1140" y="2432"/>
                  <a:pt x="1140" y="2432"/>
                  <a:pt x="1140" y="2432"/>
                </a:cubicBezTo>
                <a:cubicBezTo>
                  <a:pt x="1158" y="2432"/>
                  <a:pt x="1173" y="2417"/>
                  <a:pt x="1173" y="2398"/>
                </a:cubicBezTo>
                <a:cubicBezTo>
                  <a:pt x="1173" y="2032"/>
                  <a:pt x="1173" y="2032"/>
                  <a:pt x="1173" y="2032"/>
                </a:cubicBezTo>
                <a:cubicBezTo>
                  <a:pt x="745" y="1657"/>
                  <a:pt x="745" y="1657"/>
                  <a:pt x="745" y="1657"/>
                </a:cubicBezTo>
                <a:lnTo>
                  <a:pt x="318" y="2032"/>
                </a:lnTo>
                <a:close/>
                <a:moveTo>
                  <a:pt x="1086" y="1483"/>
                </a:moveTo>
                <a:cubicBezTo>
                  <a:pt x="926" y="1483"/>
                  <a:pt x="926" y="1483"/>
                  <a:pt x="926" y="1483"/>
                </a:cubicBezTo>
                <a:cubicBezTo>
                  <a:pt x="926" y="1601"/>
                  <a:pt x="926" y="1601"/>
                  <a:pt x="926" y="1601"/>
                </a:cubicBezTo>
                <a:cubicBezTo>
                  <a:pt x="745" y="1443"/>
                  <a:pt x="745" y="1443"/>
                  <a:pt x="745" y="1443"/>
                </a:cubicBezTo>
                <a:cubicBezTo>
                  <a:pt x="198" y="1924"/>
                  <a:pt x="198" y="1924"/>
                  <a:pt x="198" y="1924"/>
                </a:cubicBezTo>
                <a:cubicBezTo>
                  <a:pt x="198" y="2071"/>
                  <a:pt x="198" y="2071"/>
                  <a:pt x="198" y="2071"/>
                </a:cubicBezTo>
                <a:cubicBezTo>
                  <a:pt x="745" y="1590"/>
                  <a:pt x="745" y="1590"/>
                  <a:pt x="745" y="1590"/>
                </a:cubicBezTo>
                <a:cubicBezTo>
                  <a:pt x="1293" y="2071"/>
                  <a:pt x="1293" y="2071"/>
                  <a:pt x="1293" y="2071"/>
                </a:cubicBezTo>
                <a:cubicBezTo>
                  <a:pt x="1293" y="1924"/>
                  <a:pt x="1293" y="1924"/>
                  <a:pt x="1293" y="1924"/>
                </a:cubicBezTo>
                <a:cubicBezTo>
                  <a:pt x="1086" y="1742"/>
                  <a:pt x="1086" y="1742"/>
                  <a:pt x="1086" y="1742"/>
                </a:cubicBezTo>
                <a:lnTo>
                  <a:pt x="1086" y="1483"/>
                </a:lnTo>
                <a:close/>
                <a:moveTo>
                  <a:pt x="745" y="1287"/>
                </a:moveTo>
                <a:cubicBezTo>
                  <a:pt x="906" y="1289"/>
                  <a:pt x="1041" y="1191"/>
                  <a:pt x="1091" y="1085"/>
                </a:cubicBezTo>
                <a:cubicBezTo>
                  <a:pt x="1001" y="1176"/>
                  <a:pt x="874" y="1228"/>
                  <a:pt x="745" y="1228"/>
                </a:cubicBezTo>
                <a:cubicBezTo>
                  <a:pt x="617" y="1228"/>
                  <a:pt x="490" y="1176"/>
                  <a:pt x="400" y="1085"/>
                </a:cubicBezTo>
                <a:cubicBezTo>
                  <a:pt x="449" y="1191"/>
                  <a:pt x="585" y="1289"/>
                  <a:pt x="745" y="1287"/>
                </a:cubicBezTo>
                <a:close/>
                <a:moveTo>
                  <a:pt x="745" y="1115"/>
                </a:moveTo>
                <a:cubicBezTo>
                  <a:pt x="862" y="1116"/>
                  <a:pt x="952" y="1037"/>
                  <a:pt x="982" y="959"/>
                </a:cubicBezTo>
                <a:cubicBezTo>
                  <a:pt x="919" y="1022"/>
                  <a:pt x="834" y="1064"/>
                  <a:pt x="745" y="1063"/>
                </a:cubicBezTo>
                <a:cubicBezTo>
                  <a:pt x="657" y="1064"/>
                  <a:pt x="572" y="1022"/>
                  <a:pt x="509" y="959"/>
                </a:cubicBezTo>
                <a:cubicBezTo>
                  <a:pt x="539" y="1037"/>
                  <a:pt x="629" y="1116"/>
                  <a:pt x="745" y="1115"/>
                </a:cubicBezTo>
                <a:close/>
                <a:moveTo>
                  <a:pt x="883" y="866"/>
                </a:moveTo>
                <a:cubicBezTo>
                  <a:pt x="847" y="903"/>
                  <a:pt x="796" y="923"/>
                  <a:pt x="745" y="923"/>
                </a:cubicBezTo>
                <a:cubicBezTo>
                  <a:pt x="694" y="923"/>
                  <a:pt x="644" y="903"/>
                  <a:pt x="608" y="866"/>
                </a:cubicBezTo>
                <a:cubicBezTo>
                  <a:pt x="618" y="918"/>
                  <a:pt x="675" y="969"/>
                  <a:pt x="745" y="969"/>
                </a:cubicBezTo>
                <a:cubicBezTo>
                  <a:pt x="816" y="969"/>
                  <a:pt x="873" y="918"/>
                  <a:pt x="883" y="866"/>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cxnSp>
        <p:nvCxnSpPr>
          <p:cNvPr id="5" name="Straight Connector 39"/>
          <p:cNvCxnSpPr>
            <a:cxnSpLocks/>
            <a:endCxn id="27" idx="28"/>
          </p:cNvCxnSpPr>
          <p:nvPr/>
        </p:nvCxnSpPr>
        <p:spPr>
          <a:xfrm flipV="1">
            <a:off x="7829565" y="5171478"/>
            <a:ext cx="980198" cy="3036"/>
          </a:xfrm>
          <a:prstGeom prst="line">
            <a:avLst/>
          </a:prstGeom>
          <a:ln w="38100">
            <a:solidFill>
              <a:schemeClr val="tx1">
                <a:lumMod val="40000"/>
                <a:lumOff val="6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40"/>
          <p:cNvCxnSpPr>
            <a:stCxn id="20" idx="13"/>
            <a:endCxn id="27" idx="10"/>
          </p:cNvCxnSpPr>
          <p:nvPr/>
        </p:nvCxnSpPr>
        <p:spPr>
          <a:xfrm flipV="1">
            <a:off x="8260925" y="5253712"/>
            <a:ext cx="638743" cy="599620"/>
          </a:xfrm>
          <a:prstGeom prst="line">
            <a:avLst/>
          </a:prstGeom>
          <a:ln w="38100">
            <a:solidFill>
              <a:schemeClr val="tx1">
                <a:lumMod val="40000"/>
                <a:lumOff val="6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41"/>
          <p:cNvCxnSpPr>
            <a:stCxn id="18" idx="11"/>
            <a:endCxn id="27" idx="11"/>
          </p:cNvCxnSpPr>
          <p:nvPr/>
        </p:nvCxnSpPr>
        <p:spPr>
          <a:xfrm flipV="1">
            <a:off x="8829918" y="5532394"/>
            <a:ext cx="69750" cy="600301"/>
          </a:xfrm>
          <a:prstGeom prst="line">
            <a:avLst/>
          </a:prstGeom>
          <a:ln w="38100">
            <a:solidFill>
              <a:schemeClr val="tx1">
                <a:lumMod val="40000"/>
                <a:lumOff val="6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42"/>
          <p:cNvCxnSpPr>
            <a:stCxn id="19" idx="11"/>
            <a:endCxn id="27" idx="18"/>
          </p:cNvCxnSpPr>
          <p:nvPr/>
        </p:nvCxnSpPr>
        <p:spPr>
          <a:xfrm flipH="1" flipV="1">
            <a:off x="9325218" y="5558282"/>
            <a:ext cx="137873" cy="563820"/>
          </a:xfrm>
          <a:prstGeom prst="line">
            <a:avLst/>
          </a:prstGeom>
          <a:ln w="38100">
            <a:solidFill>
              <a:schemeClr val="tx1">
                <a:lumMod val="40000"/>
                <a:lumOff val="6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43"/>
          <p:cNvCxnSpPr>
            <a:stCxn id="16" idx="16"/>
            <a:endCxn id="27" idx="20"/>
          </p:cNvCxnSpPr>
          <p:nvPr/>
        </p:nvCxnSpPr>
        <p:spPr>
          <a:xfrm flipH="1" flipV="1">
            <a:off x="9540240" y="5532394"/>
            <a:ext cx="913339" cy="427466"/>
          </a:xfrm>
          <a:prstGeom prst="line">
            <a:avLst/>
          </a:prstGeom>
          <a:ln w="38100">
            <a:solidFill>
              <a:schemeClr val="tx1">
                <a:lumMod val="40000"/>
                <a:lumOff val="6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44"/>
          <p:cNvCxnSpPr>
            <a:stCxn id="14" idx="7"/>
            <a:endCxn id="27" idx="31"/>
          </p:cNvCxnSpPr>
          <p:nvPr/>
        </p:nvCxnSpPr>
        <p:spPr>
          <a:xfrm flipH="1" flipV="1">
            <a:off x="9630145" y="5283408"/>
            <a:ext cx="1055285" cy="47964"/>
          </a:xfrm>
          <a:prstGeom prst="line">
            <a:avLst/>
          </a:prstGeom>
          <a:ln w="38100">
            <a:solidFill>
              <a:schemeClr val="tx1">
                <a:lumMod val="40000"/>
                <a:lumOff val="6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526118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800" dirty="0" err="1"/>
              <a:t>IoT</a:t>
            </a:r>
            <a:r>
              <a:rPr lang="en-US" sz="4800" dirty="0"/>
              <a:t> Hacks at Target</a:t>
            </a:r>
          </a:p>
        </p:txBody>
      </p:sp>
      <p:sp>
        <p:nvSpPr>
          <p:cNvPr id="2" name="TextBox 1"/>
          <p:cNvSpPr txBox="1"/>
          <p:nvPr/>
        </p:nvSpPr>
        <p:spPr>
          <a:xfrm>
            <a:off x="247117" y="979413"/>
            <a:ext cx="11811533"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A major US retailer, Target, hired a 3</a:t>
            </a:r>
            <a:r>
              <a:rPr lang="en-US" sz="2400" baseline="30000" dirty="0">
                <a:gradFill>
                  <a:gsLst>
                    <a:gs pos="2917">
                      <a:schemeClr val="tx1"/>
                    </a:gs>
                    <a:gs pos="30000">
                      <a:schemeClr val="tx1"/>
                    </a:gs>
                  </a:gsLst>
                  <a:lin ang="5400000" scaled="0"/>
                </a:gradFill>
                <a:latin typeface="+mj-lt"/>
              </a:rPr>
              <a:t>rd</a:t>
            </a:r>
            <a:r>
              <a:rPr lang="en-US" sz="2400" dirty="0">
                <a:gradFill>
                  <a:gsLst>
                    <a:gs pos="2917">
                      <a:schemeClr val="tx1"/>
                    </a:gs>
                    <a:gs pos="30000">
                      <a:schemeClr val="tx1"/>
                    </a:gs>
                  </a:gsLst>
                  <a:lin ang="5400000" scaled="0"/>
                </a:gradFill>
                <a:latin typeface="+mj-lt"/>
              </a:rPr>
              <a:t> party vendor to connect each stores’ HVAC (air conditioning system) to the corporate network.</a:t>
            </a:r>
          </a:p>
        </p:txBody>
      </p:sp>
      <p:sp>
        <p:nvSpPr>
          <p:cNvPr id="6" name="Rectangle 6"/>
          <p:cNvSpPr>
            <a:spLocks noChangeArrowheads="1"/>
          </p:cNvSpPr>
          <p:nvPr/>
        </p:nvSpPr>
        <p:spPr bwMode="auto">
          <a:xfrm>
            <a:off x="8820150" y="5163977"/>
            <a:ext cx="2041920" cy="876306"/>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7" name="Rectangle 7"/>
          <p:cNvSpPr>
            <a:spLocks noChangeArrowheads="1"/>
          </p:cNvSpPr>
          <p:nvPr/>
        </p:nvSpPr>
        <p:spPr bwMode="auto">
          <a:xfrm>
            <a:off x="8865844" y="5398682"/>
            <a:ext cx="2011680" cy="29613"/>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8" name="Rectangle 8"/>
          <p:cNvSpPr>
            <a:spLocks noChangeArrowheads="1"/>
          </p:cNvSpPr>
          <p:nvPr/>
        </p:nvSpPr>
        <p:spPr bwMode="auto">
          <a:xfrm>
            <a:off x="10514398" y="5845061"/>
            <a:ext cx="100901" cy="195222"/>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9" name="Rectangle 9"/>
          <p:cNvSpPr>
            <a:spLocks noChangeArrowheads="1"/>
          </p:cNvSpPr>
          <p:nvPr/>
        </p:nvSpPr>
        <p:spPr bwMode="auto">
          <a:xfrm>
            <a:off x="10342208" y="5845061"/>
            <a:ext cx="98708" cy="195222"/>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10" name="Rectangle 10"/>
          <p:cNvSpPr>
            <a:spLocks noChangeArrowheads="1"/>
          </p:cNvSpPr>
          <p:nvPr/>
        </p:nvSpPr>
        <p:spPr bwMode="auto">
          <a:xfrm>
            <a:off x="8865844" y="5510550"/>
            <a:ext cx="2011680" cy="98708"/>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11" name="Rectangle 11"/>
          <p:cNvSpPr>
            <a:spLocks noChangeArrowheads="1"/>
          </p:cNvSpPr>
          <p:nvPr/>
        </p:nvSpPr>
        <p:spPr bwMode="auto">
          <a:xfrm>
            <a:off x="8865844" y="5682741"/>
            <a:ext cx="2011680" cy="100901"/>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12" name="Rectangle 12"/>
          <p:cNvSpPr>
            <a:spLocks noChangeArrowheads="1"/>
          </p:cNvSpPr>
          <p:nvPr/>
        </p:nvSpPr>
        <p:spPr bwMode="auto">
          <a:xfrm>
            <a:off x="10773973" y="5081721"/>
            <a:ext cx="769921" cy="958562"/>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13" name="Rectangle 13"/>
          <p:cNvSpPr>
            <a:spLocks noChangeArrowheads="1"/>
          </p:cNvSpPr>
          <p:nvPr/>
        </p:nvSpPr>
        <p:spPr bwMode="auto">
          <a:xfrm>
            <a:off x="10734489" y="5052108"/>
            <a:ext cx="847790" cy="29613"/>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14" name="Rectangle 14"/>
          <p:cNvSpPr>
            <a:spLocks noChangeArrowheads="1"/>
          </p:cNvSpPr>
          <p:nvPr/>
        </p:nvSpPr>
        <p:spPr bwMode="auto">
          <a:xfrm>
            <a:off x="11197320" y="5845061"/>
            <a:ext cx="100901" cy="195222"/>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15" name="Rectangle 15"/>
          <p:cNvSpPr>
            <a:spLocks noChangeArrowheads="1"/>
          </p:cNvSpPr>
          <p:nvPr/>
        </p:nvSpPr>
        <p:spPr bwMode="auto">
          <a:xfrm>
            <a:off x="11021839" y="5845061"/>
            <a:ext cx="100901" cy="195222"/>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16" name="Rectangle 16"/>
          <p:cNvSpPr>
            <a:spLocks noChangeArrowheads="1"/>
          </p:cNvSpPr>
          <p:nvPr/>
        </p:nvSpPr>
        <p:spPr bwMode="auto">
          <a:xfrm>
            <a:off x="10849648" y="5163977"/>
            <a:ext cx="622956" cy="101999"/>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17" name="Rectangle 17"/>
          <p:cNvSpPr>
            <a:spLocks noChangeArrowheads="1"/>
          </p:cNvSpPr>
          <p:nvPr/>
        </p:nvSpPr>
        <p:spPr bwMode="auto">
          <a:xfrm>
            <a:off x="10849648" y="5336167"/>
            <a:ext cx="622956" cy="100901"/>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18" name="Rectangle 18"/>
          <p:cNvSpPr>
            <a:spLocks noChangeArrowheads="1"/>
          </p:cNvSpPr>
          <p:nvPr/>
        </p:nvSpPr>
        <p:spPr bwMode="auto">
          <a:xfrm>
            <a:off x="10849648" y="5510550"/>
            <a:ext cx="622956" cy="98708"/>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19" name="Rectangle 19"/>
          <p:cNvSpPr>
            <a:spLocks noChangeArrowheads="1"/>
          </p:cNvSpPr>
          <p:nvPr/>
        </p:nvSpPr>
        <p:spPr bwMode="auto">
          <a:xfrm>
            <a:off x="10849648" y="5682741"/>
            <a:ext cx="622956" cy="100901"/>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22" name="Rectangle 24"/>
          <p:cNvSpPr>
            <a:spLocks noChangeArrowheads="1"/>
          </p:cNvSpPr>
          <p:nvPr/>
        </p:nvSpPr>
        <p:spPr bwMode="auto">
          <a:xfrm>
            <a:off x="8692200" y="5972976"/>
            <a:ext cx="2926080" cy="48257"/>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30" name="Rectangle 13"/>
          <p:cNvSpPr>
            <a:spLocks noChangeArrowheads="1"/>
          </p:cNvSpPr>
          <p:nvPr/>
        </p:nvSpPr>
        <p:spPr bwMode="auto">
          <a:xfrm>
            <a:off x="8782743" y="5149170"/>
            <a:ext cx="2103120" cy="29613"/>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grpSp>
        <p:nvGrpSpPr>
          <p:cNvPr id="36" name="Group 35"/>
          <p:cNvGrpSpPr/>
          <p:nvPr/>
        </p:nvGrpSpPr>
        <p:grpSpPr>
          <a:xfrm>
            <a:off x="9117048" y="4798167"/>
            <a:ext cx="935617" cy="935617"/>
            <a:chOff x="4970966" y="1694366"/>
            <a:chExt cx="935617" cy="935617"/>
          </a:xfrm>
        </p:grpSpPr>
        <p:sp>
          <p:nvSpPr>
            <p:cNvPr id="35" name="Oval 34"/>
            <p:cNvSpPr/>
            <p:nvPr/>
          </p:nvSpPr>
          <p:spPr bwMode="auto">
            <a:xfrm>
              <a:off x="4970966" y="1694366"/>
              <a:ext cx="935617" cy="935617"/>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Oval 31"/>
            <p:cNvSpPr/>
            <p:nvPr/>
          </p:nvSpPr>
          <p:spPr bwMode="auto">
            <a:xfrm>
              <a:off x="5048250" y="1771650"/>
              <a:ext cx="781050" cy="78105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Oval 32"/>
            <p:cNvSpPr/>
            <p:nvPr/>
          </p:nvSpPr>
          <p:spPr bwMode="auto">
            <a:xfrm>
              <a:off x="5172075" y="1895475"/>
              <a:ext cx="533400" cy="53340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Oval 33"/>
            <p:cNvSpPr/>
            <p:nvPr/>
          </p:nvSpPr>
          <p:spPr bwMode="auto">
            <a:xfrm>
              <a:off x="5276850" y="2005013"/>
              <a:ext cx="323850" cy="32385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7" name="Rectangle 36"/>
          <p:cNvSpPr/>
          <p:nvPr/>
        </p:nvSpPr>
        <p:spPr bwMode="auto">
          <a:xfrm>
            <a:off x="0" y="6040283"/>
            <a:ext cx="12192000" cy="817717"/>
          </a:xfrm>
          <a:prstGeom prst="rect">
            <a:avLst/>
          </a:prstGeom>
          <a:gradFill flip="none" rotWithShape="1">
            <a:gsLst>
              <a:gs pos="0">
                <a:schemeClr val="tx1">
                  <a:lumMod val="40000"/>
                  <a:lumOff val="60000"/>
                  <a:tint val="66000"/>
                  <a:satMod val="160000"/>
                </a:schemeClr>
              </a:gs>
              <a:gs pos="50000">
                <a:schemeClr val="tx1">
                  <a:lumMod val="40000"/>
                  <a:lumOff val="60000"/>
                  <a:tint val="44500"/>
                  <a:satMod val="160000"/>
                </a:schemeClr>
              </a:gs>
              <a:gs pos="100000">
                <a:schemeClr val="tx1">
                  <a:lumMod val="40000"/>
                  <a:lumOff val="60000"/>
                  <a:tint val="23500"/>
                  <a:satMod val="160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Freeform 25"/>
          <p:cNvSpPr>
            <a:spLocks/>
          </p:cNvSpPr>
          <p:nvPr/>
        </p:nvSpPr>
        <p:spPr bwMode="auto">
          <a:xfrm>
            <a:off x="6756695" y="1850019"/>
            <a:ext cx="1809750" cy="1071126"/>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bg1"/>
          </a:solidFill>
          <a:ln>
            <a:solidFill>
              <a:schemeClr val="tx1">
                <a:lumMod val="60000"/>
                <a:lumOff val="40000"/>
              </a:schemeClr>
            </a:solidFill>
          </a:ln>
          <a:extLst/>
        </p:spPr>
        <p:txBody>
          <a:bodyPr/>
          <a:lstStyle/>
          <a:p>
            <a:pPr defTabSz="671898">
              <a:defRPr/>
            </a:pPr>
            <a:endParaRPr lang="en-US" sz="1350">
              <a:solidFill>
                <a:srgbClr val="000000"/>
              </a:solidFill>
            </a:endParaRPr>
          </a:p>
        </p:txBody>
      </p:sp>
      <p:sp>
        <p:nvSpPr>
          <p:cNvPr id="39" name="Freeform 25"/>
          <p:cNvSpPr>
            <a:spLocks/>
          </p:cNvSpPr>
          <p:nvPr/>
        </p:nvSpPr>
        <p:spPr bwMode="auto">
          <a:xfrm>
            <a:off x="7594893" y="2002419"/>
            <a:ext cx="1295401" cy="918726"/>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bg1"/>
          </a:solidFill>
          <a:ln>
            <a:solidFill>
              <a:schemeClr val="tx1">
                <a:lumMod val="60000"/>
                <a:lumOff val="40000"/>
              </a:schemeClr>
            </a:solidFill>
          </a:ln>
          <a:extLst/>
        </p:spPr>
        <p:txBody>
          <a:bodyPr/>
          <a:lstStyle/>
          <a:p>
            <a:pPr defTabSz="671898">
              <a:defRPr/>
            </a:pPr>
            <a:endParaRPr lang="en-US" sz="1350">
              <a:solidFill>
                <a:srgbClr val="000000"/>
              </a:solidFill>
            </a:endParaRPr>
          </a:p>
        </p:txBody>
      </p:sp>
      <p:grpSp>
        <p:nvGrpSpPr>
          <p:cNvPr id="46" name="Group 45"/>
          <p:cNvGrpSpPr/>
          <p:nvPr/>
        </p:nvGrpSpPr>
        <p:grpSpPr>
          <a:xfrm>
            <a:off x="6223293" y="5602130"/>
            <a:ext cx="712153" cy="457284"/>
            <a:chOff x="6223293" y="5602130"/>
            <a:chExt cx="712153" cy="457284"/>
          </a:xfrm>
        </p:grpSpPr>
        <p:sp>
          <p:nvSpPr>
            <p:cNvPr id="41" name="Freeform 5"/>
            <p:cNvSpPr>
              <a:spLocks noEditPoints="1"/>
            </p:cNvSpPr>
            <p:nvPr/>
          </p:nvSpPr>
          <p:spPr bwMode="auto">
            <a:xfrm>
              <a:off x="6317468" y="5923397"/>
              <a:ext cx="135302" cy="136017"/>
            </a:xfrm>
            <a:custGeom>
              <a:avLst/>
              <a:gdLst>
                <a:gd name="T0" fmla="*/ 239 w 480"/>
                <a:gd name="T1" fmla="*/ 0 h 482"/>
                <a:gd name="T2" fmla="*/ 0 w 480"/>
                <a:gd name="T3" fmla="*/ 241 h 482"/>
                <a:gd name="T4" fmla="*/ 239 w 480"/>
                <a:gd name="T5" fmla="*/ 482 h 482"/>
                <a:gd name="T6" fmla="*/ 480 w 480"/>
                <a:gd name="T7" fmla="*/ 241 h 482"/>
                <a:gd name="T8" fmla="*/ 239 w 480"/>
                <a:gd name="T9" fmla="*/ 0 h 482"/>
                <a:gd name="T10" fmla="*/ 239 w 480"/>
                <a:gd name="T11" fmla="*/ 317 h 482"/>
                <a:gd name="T12" fmla="*/ 165 w 480"/>
                <a:gd name="T13" fmla="*/ 241 h 482"/>
                <a:gd name="T14" fmla="*/ 239 w 480"/>
                <a:gd name="T15" fmla="*/ 167 h 482"/>
                <a:gd name="T16" fmla="*/ 315 w 480"/>
                <a:gd name="T17" fmla="*/ 241 h 482"/>
                <a:gd name="T18" fmla="*/ 239 w 480"/>
                <a:gd name="T19" fmla="*/ 317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482">
                  <a:moveTo>
                    <a:pt x="239" y="0"/>
                  </a:moveTo>
                  <a:cubicBezTo>
                    <a:pt x="107" y="0"/>
                    <a:pt x="0" y="109"/>
                    <a:pt x="0" y="241"/>
                  </a:cubicBezTo>
                  <a:cubicBezTo>
                    <a:pt x="0" y="375"/>
                    <a:pt x="107" y="482"/>
                    <a:pt x="239" y="482"/>
                  </a:cubicBezTo>
                  <a:cubicBezTo>
                    <a:pt x="373" y="482"/>
                    <a:pt x="480" y="375"/>
                    <a:pt x="480" y="241"/>
                  </a:cubicBezTo>
                  <a:cubicBezTo>
                    <a:pt x="480" y="109"/>
                    <a:pt x="373" y="0"/>
                    <a:pt x="239" y="0"/>
                  </a:cubicBezTo>
                  <a:close/>
                  <a:moveTo>
                    <a:pt x="239" y="317"/>
                  </a:moveTo>
                  <a:cubicBezTo>
                    <a:pt x="197" y="317"/>
                    <a:pt x="165" y="285"/>
                    <a:pt x="165" y="241"/>
                  </a:cubicBezTo>
                  <a:cubicBezTo>
                    <a:pt x="165" y="200"/>
                    <a:pt x="197" y="167"/>
                    <a:pt x="239" y="167"/>
                  </a:cubicBezTo>
                  <a:cubicBezTo>
                    <a:pt x="282" y="167"/>
                    <a:pt x="315" y="200"/>
                    <a:pt x="315" y="241"/>
                  </a:cubicBezTo>
                  <a:cubicBezTo>
                    <a:pt x="315" y="285"/>
                    <a:pt x="282" y="317"/>
                    <a:pt x="239" y="317"/>
                  </a:cubicBezTo>
                  <a:close/>
                </a:path>
              </a:pathLst>
            </a:custGeom>
            <a:solidFill>
              <a:schemeClr val="tx2"/>
            </a:solidFill>
            <a:ln>
              <a:noFill/>
            </a:ln>
            <a:extLst/>
          </p:spPr>
          <p:txBody>
            <a:bodyPr vert="horz" wrap="square" lIns="67232" tIns="33616" rIns="67232" bIns="33616" numCol="1" anchor="t" anchorCtr="0" compatLnSpc="1">
              <a:prstTxWarp prst="textNoShape">
                <a:avLst/>
              </a:prstTxWarp>
            </a:bodyPr>
            <a:lstStyle/>
            <a:p>
              <a:pPr defTabSz="685845"/>
              <a:endParaRPr lang="en-US" sz="1324" dirty="0">
                <a:solidFill>
                  <a:srgbClr val="FFFFFF"/>
                </a:solidFill>
              </a:endParaRPr>
            </a:p>
          </p:txBody>
        </p:sp>
        <p:sp>
          <p:nvSpPr>
            <p:cNvPr id="42" name="Freeform 6"/>
            <p:cNvSpPr>
              <a:spLocks noEditPoints="1"/>
            </p:cNvSpPr>
            <p:nvPr/>
          </p:nvSpPr>
          <p:spPr bwMode="auto">
            <a:xfrm>
              <a:off x="6687969" y="5923397"/>
              <a:ext cx="135302" cy="136017"/>
            </a:xfrm>
            <a:custGeom>
              <a:avLst/>
              <a:gdLst>
                <a:gd name="T0" fmla="*/ 239 w 480"/>
                <a:gd name="T1" fmla="*/ 0 h 482"/>
                <a:gd name="T2" fmla="*/ 0 w 480"/>
                <a:gd name="T3" fmla="*/ 241 h 482"/>
                <a:gd name="T4" fmla="*/ 239 w 480"/>
                <a:gd name="T5" fmla="*/ 482 h 482"/>
                <a:gd name="T6" fmla="*/ 480 w 480"/>
                <a:gd name="T7" fmla="*/ 241 h 482"/>
                <a:gd name="T8" fmla="*/ 239 w 480"/>
                <a:gd name="T9" fmla="*/ 0 h 482"/>
                <a:gd name="T10" fmla="*/ 239 w 480"/>
                <a:gd name="T11" fmla="*/ 317 h 482"/>
                <a:gd name="T12" fmla="*/ 165 w 480"/>
                <a:gd name="T13" fmla="*/ 241 h 482"/>
                <a:gd name="T14" fmla="*/ 239 w 480"/>
                <a:gd name="T15" fmla="*/ 167 h 482"/>
                <a:gd name="T16" fmla="*/ 315 w 480"/>
                <a:gd name="T17" fmla="*/ 241 h 482"/>
                <a:gd name="T18" fmla="*/ 239 w 480"/>
                <a:gd name="T19" fmla="*/ 317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482">
                  <a:moveTo>
                    <a:pt x="239" y="0"/>
                  </a:moveTo>
                  <a:cubicBezTo>
                    <a:pt x="107" y="0"/>
                    <a:pt x="0" y="109"/>
                    <a:pt x="0" y="241"/>
                  </a:cubicBezTo>
                  <a:cubicBezTo>
                    <a:pt x="0" y="375"/>
                    <a:pt x="107" y="482"/>
                    <a:pt x="239" y="482"/>
                  </a:cubicBezTo>
                  <a:cubicBezTo>
                    <a:pt x="373" y="482"/>
                    <a:pt x="480" y="375"/>
                    <a:pt x="480" y="241"/>
                  </a:cubicBezTo>
                  <a:cubicBezTo>
                    <a:pt x="480" y="109"/>
                    <a:pt x="373" y="0"/>
                    <a:pt x="239" y="0"/>
                  </a:cubicBezTo>
                  <a:close/>
                  <a:moveTo>
                    <a:pt x="239" y="317"/>
                  </a:moveTo>
                  <a:cubicBezTo>
                    <a:pt x="198" y="317"/>
                    <a:pt x="165" y="285"/>
                    <a:pt x="165" y="241"/>
                  </a:cubicBezTo>
                  <a:cubicBezTo>
                    <a:pt x="165" y="200"/>
                    <a:pt x="198" y="167"/>
                    <a:pt x="239" y="167"/>
                  </a:cubicBezTo>
                  <a:cubicBezTo>
                    <a:pt x="282" y="167"/>
                    <a:pt x="315" y="200"/>
                    <a:pt x="315" y="241"/>
                  </a:cubicBezTo>
                  <a:cubicBezTo>
                    <a:pt x="315" y="285"/>
                    <a:pt x="282" y="317"/>
                    <a:pt x="239" y="317"/>
                  </a:cubicBezTo>
                  <a:close/>
                </a:path>
              </a:pathLst>
            </a:custGeom>
            <a:solidFill>
              <a:schemeClr val="tx2"/>
            </a:solidFill>
            <a:ln>
              <a:noFill/>
            </a:ln>
            <a:extLst/>
          </p:spPr>
          <p:txBody>
            <a:bodyPr vert="horz" wrap="square" lIns="67232" tIns="33616" rIns="67232" bIns="33616" numCol="1" anchor="t" anchorCtr="0" compatLnSpc="1">
              <a:prstTxWarp prst="textNoShape">
                <a:avLst/>
              </a:prstTxWarp>
            </a:bodyPr>
            <a:lstStyle/>
            <a:p>
              <a:pPr defTabSz="685845"/>
              <a:endParaRPr lang="en-US" sz="1324" dirty="0">
                <a:solidFill>
                  <a:srgbClr val="FFFFFF"/>
                </a:solidFill>
              </a:endParaRPr>
            </a:p>
          </p:txBody>
        </p:sp>
        <p:sp>
          <p:nvSpPr>
            <p:cNvPr id="43" name="Freeform 7"/>
            <p:cNvSpPr>
              <a:spLocks noEditPoints="1"/>
            </p:cNvSpPr>
            <p:nvPr/>
          </p:nvSpPr>
          <p:spPr bwMode="auto">
            <a:xfrm>
              <a:off x="6223293" y="5660542"/>
              <a:ext cx="712153" cy="335095"/>
            </a:xfrm>
            <a:custGeom>
              <a:avLst/>
              <a:gdLst>
                <a:gd name="T0" fmla="*/ 2452 w 2526"/>
                <a:gd name="T1" fmla="*/ 873 h 1188"/>
                <a:gd name="T2" fmla="*/ 2364 w 2526"/>
                <a:gd name="T3" fmla="*/ 553 h 1188"/>
                <a:gd name="T4" fmla="*/ 1669 w 2526"/>
                <a:gd name="T5" fmla="*/ 0 h 1188"/>
                <a:gd name="T6" fmla="*/ 74 w 2526"/>
                <a:gd name="T7" fmla="*/ 123 h 1188"/>
                <a:gd name="T8" fmla="*/ 63 w 2526"/>
                <a:gd name="T9" fmla="*/ 873 h 1188"/>
                <a:gd name="T10" fmla="*/ 0 w 2526"/>
                <a:gd name="T11" fmla="*/ 985 h 1188"/>
                <a:gd name="T12" fmla="*/ 74 w 2526"/>
                <a:gd name="T13" fmla="*/ 1048 h 1188"/>
                <a:gd name="T14" fmla="*/ 198 w 2526"/>
                <a:gd name="T15" fmla="*/ 1188 h 1188"/>
                <a:gd name="T16" fmla="*/ 291 w 2526"/>
                <a:gd name="T17" fmla="*/ 1171 h 1188"/>
                <a:gd name="T18" fmla="*/ 858 w 2526"/>
                <a:gd name="T19" fmla="*/ 1171 h 1188"/>
                <a:gd name="T20" fmla="*/ 1606 w 2526"/>
                <a:gd name="T21" fmla="*/ 1188 h 1188"/>
                <a:gd name="T22" fmla="*/ 1888 w 2526"/>
                <a:gd name="T23" fmla="*/ 887 h 1188"/>
                <a:gd name="T24" fmla="*/ 2173 w 2526"/>
                <a:gd name="T25" fmla="*/ 1188 h 1188"/>
                <a:gd name="T26" fmla="*/ 2452 w 2526"/>
                <a:gd name="T27" fmla="*/ 1062 h 1188"/>
                <a:gd name="T28" fmla="*/ 2463 w 2526"/>
                <a:gd name="T29" fmla="*/ 1048 h 1188"/>
                <a:gd name="T30" fmla="*/ 2526 w 2526"/>
                <a:gd name="T31" fmla="*/ 936 h 1188"/>
                <a:gd name="T32" fmla="*/ 828 w 2526"/>
                <a:gd name="T33" fmla="*/ 482 h 1188"/>
                <a:gd name="T34" fmla="*/ 652 w 2526"/>
                <a:gd name="T35" fmla="*/ 531 h 1188"/>
                <a:gd name="T36" fmla="*/ 603 w 2526"/>
                <a:gd name="T37" fmla="*/ 706 h 1188"/>
                <a:gd name="T38" fmla="*/ 494 w 2526"/>
                <a:gd name="T39" fmla="*/ 657 h 1188"/>
                <a:gd name="T40" fmla="*/ 370 w 2526"/>
                <a:gd name="T41" fmla="*/ 531 h 1188"/>
                <a:gd name="T42" fmla="*/ 321 w 2526"/>
                <a:gd name="T43" fmla="*/ 421 h 1188"/>
                <a:gd name="T44" fmla="*/ 494 w 2526"/>
                <a:gd name="T45" fmla="*/ 372 h 1188"/>
                <a:gd name="T46" fmla="*/ 543 w 2526"/>
                <a:gd name="T47" fmla="*/ 197 h 1188"/>
                <a:gd name="T48" fmla="*/ 652 w 2526"/>
                <a:gd name="T49" fmla="*/ 246 h 1188"/>
                <a:gd name="T50" fmla="*/ 778 w 2526"/>
                <a:gd name="T51" fmla="*/ 372 h 1188"/>
                <a:gd name="T52" fmla="*/ 828 w 2526"/>
                <a:gd name="T53" fmla="*/ 482 h 1188"/>
                <a:gd name="T54" fmla="*/ 2066 w 2526"/>
                <a:gd name="T55" fmla="*/ 493 h 1188"/>
                <a:gd name="T56" fmla="*/ 1419 w 2526"/>
                <a:gd name="T57" fmla="*/ 432 h 1188"/>
                <a:gd name="T58" fmla="*/ 1480 w 2526"/>
                <a:gd name="T59" fmla="*/ 88 h 1188"/>
                <a:gd name="T60" fmla="*/ 1822 w 2526"/>
                <a:gd name="T61" fmla="*/ 151 h 1188"/>
                <a:gd name="T62" fmla="*/ 2066 w 2526"/>
                <a:gd name="T63" fmla="*/ 493 h 1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26" h="1188">
                  <a:moveTo>
                    <a:pt x="2463" y="873"/>
                  </a:moveTo>
                  <a:cubicBezTo>
                    <a:pt x="2452" y="873"/>
                    <a:pt x="2452" y="873"/>
                    <a:pt x="2452" y="873"/>
                  </a:cubicBezTo>
                  <a:cubicBezTo>
                    <a:pt x="2452" y="763"/>
                    <a:pt x="2452" y="763"/>
                    <a:pt x="2452" y="763"/>
                  </a:cubicBezTo>
                  <a:cubicBezTo>
                    <a:pt x="2452" y="695"/>
                    <a:pt x="2411" y="602"/>
                    <a:pt x="2364" y="553"/>
                  </a:cubicBezTo>
                  <a:cubicBezTo>
                    <a:pt x="1882" y="88"/>
                    <a:pt x="1882" y="88"/>
                    <a:pt x="1882" y="88"/>
                  </a:cubicBezTo>
                  <a:cubicBezTo>
                    <a:pt x="1833" y="38"/>
                    <a:pt x="1737" y="0"/>
                    <a:pt x="1669" y="0"/>
                  </a:cubicBezTo>
                  <a:cubicBezTo>
                    <a:pt x="198" y="0"/>
                    <a:pt x="198" y="0"/>
                    <a:pt x="198" y="0"/>
                  </a:cubicBezTo>
                  <a:cubicBezTo>
                    <a:pt x="129" y="0"/>
                    <a:pt x="74" y="55"/>
                    <a:pt x="74" y="123"/>
                  </a:cubicBezTo>
                  <a:cubicBezTo>
                    <a:pt x="74" y="873"/>
                    <a:pt x="74" y="873"/>
                    <a:pt x="74" y="873"/>
                  </a:cubicBezTo>
                  <a:cubicBezTo>
                    <a:pt x="63" y="873"/>
                    <a:pt x="63" y="873"/>
                    <a:pt x="63" y="873"/>
                  </a:cubicBezTo>
                  <a:cubicBezTo>
                    <a:pt x="28" y="873"/>
                    <a:pt x="0" y="903"/>
                    <a:pt x="0" y="936"/>
                  </a:cubicBezTo>
                  <a:cubicBezTo>
                    <a:pt x="0" y="985"/>
                    <a:pt x="0" y="985"/>
                    <a:pt x="0" y="985"/>
                  </a:cubicBezTo>
                  <a:cubicBezTo>
                    <a:pt x="0" y="1018"/>
                    <a:pt x="28" y="1048"/>
                    <a:pt x="63" y="1048"/>
                  </a:cubicBezTo>
                  <a:cubicBezTo>
                    <a:pt x="74" y="1048"/>
                    <a:pt x="74" y="1048"/>
                    <a:pt x="74" y="1048"/>
                  </a:cubicBezTo>
                  <a:cubicBezTo>
                    <a:pt x="74" y="1062"/>
                    <a:pt x="74" y="1062"/>
                    <a:pt x="74" y="1062"/>
                  </a:cubicBezTo>
                  <a:cubicBezTo>
                    <a:pt x="74" y="1130"/>
                    <a:pt x="129" y="1188"/>
                    <a:pt x="198" y="1188"/>
                  </a:cubicBezTo>
                  <a:cubicBezTo>
                    <a:pt x="291" y="1188"/>
                    <a:pt x="291" y="1188"/>
                    <a:pt x="291" y="1188"/>
                  </a:cubicBezTo>
                  <a:cubicBezTo>
                    <a:pt x="291" y="1182"/>
                    <a:pt x="291" y="1177"/>
                    <a:pt x="291" y="1171"/>
                  </a:cubicBezTo>
                  <a:cubicBezTo>
                    <a:pt x="291" y="1015"/>
                    <a:pt x="417" y="887"/>
                    <a:pt x="573" y="887"/>
                  </a:cubicBezTo>
                  <a:cubicBezTo>
                    <a:pt x="732" y="887"/>
                    <a:pt x="858" y="1015"/>
                    <a:pt x="858" y="1171"/>
                  </a:cubicBezTo>
                  <a:cubicBezTo>
                    <a:pt x="858" y="1177"/>
                    <a:pt x="858" y="1182"/>
                    <a:pt x="858" y="1188"/>
                  </a:cubicBezTo>
                  <a:cubicBezTo>
                    <a:pt x="1606" y="1188"/>
                    <a:pt x="1606" y="1188"/>
                    <a:pt x="1606" y="1188"/>
                  </a:cubicBezTo>
                  <a:cubicBezTo>
                    <a:pt x="1606" y="1182"/>
                    <a:pt x="1606" y="1177"/>
                    <a:pt x="1606" y="1171"/>
                  </a:cubicBezTo>
                  <a:cubicBezTo>
                    <a:pt x="1606" y="1015"/>
                    <a:pt x="1732" y="887"/>
                    <a:pt x="1888" y="887"/>
                  </a:cubicBezTo>
                  <a:cubicBezTo>
                    <a:pt x="2047" y="887"/>
                    <a:pt x="2173" y="1015"/>
                    <a:pt x="2173" y="1171"/>
                  </a:cubicBezTo>
                  <a:cubicBezTo>
                    <a:pt x="2173" y="1177"/>
                    <a:pt x="2173" y="1182"/>
                    <a:pt x="2173" y="1188"/>
                  </a:cubicBezTo>
                  <a:cubicBezTo>
                    <a:pt x="2329" y="1188"/>
                    <a:pt x="2329" y="1188"/>
                    <a:pt x="2329" y="1188"/>
                  </a:cubicBezTo>
                  <a:cubicBezTo>
                    <a:pt x="2397" y="1188"/>
                    <a:pt x="2452" y="1130"/>
                    <a:pt x="2452" y="1062"/>
                  </a:cubicBezTo>
                  <a:cubicBezTo>
                    <a:pt x="2452" y="1048"/>
                    <a:pt x="2452" y="1048"/>
                    <a:pt x="2452" y="1048"/>
                  </a:cubicBezTo>
                  <a:cubicBezTo>
                    <a:pt x="2463" y="1048"/>
                    <a:pt x="2463" y="1048"/>
                    <a:pt x="2463" y="1048"/>
                  </a:cubicBezTo>
                  <a:cubicBezTo>
                    <a:pt x="2499" y="1048"/>
                    <a:pt x="2526" y="1018"/>
                    <a:pt x="2526" y="985"/>
                  </a:cubicBezTo>
                  <a:cubicBezTo>
                    <a:pt x="2526" y="936"/>
                    <a:pt x="2526" y="936"/>
                    <a:pt x="2526" y="936"/>
                  </a:cubicBezTo>
                  <a:cubicBezTo>
                    <a:pt x="2526" y="903"/>
                    <a:pt x="2499" y="873"/>
                    <a:pt x="2463" y="873"/>
                  </a:cubicBezTo>
                  <a:close/>
                  <a:moveTo>
                    <a:pt x="828" y="482"/>
                  </a:moveTo>
                  <a:cubicBezTo>
                    <a:pt x="828" y="509"/>
                    <a:pt x="806" y="531"/>
                    <a:pt x="778" y="531"/>
                  </a:cubicBezTo>
                  <a:cubicBezTo>
                    <a:pt x="652" y="531"/>
                    <a:pt x="652" y="531"/>
                    <a:pt x="652" y="531"/>
                  </a:cubicBezTo>
                  <a:cubicBezTo>
                    <a:pt x="652" y="657"/>
                    <a:pt x="652" y="657"/>
                    <a:pt x="652" y="657"/>
                  </a:cubicBezTo>
                  <a:cubicBezTo>
                    <a:pt x="652" y="684"/>
                    <a:pt x="630" y="706"/>
                    <a:pt x="603" y="706"/>
                  </a:cubicBezTo>
                  <a:cubicBezTo>
                    <a:pt x="543" y="706"/>
                    <a:pt x="543" y="706"/>
                    <a:pt x="543" y="706"/>
                  </a:cubicBezTo>
                  <a:cubicBezTo>
                    <a:pt x="515" y="706"/>
                    <a:pt x="494" y="684"/>
                    <a:pt x="494" y="657"/>
                  </a:cubicBezTo>
                  <a:cubicBezTo>
                    <a:pt x="494" y="531"/>
                    <a:pt x="494" y="531"/>
                    <a:pt x="494" y="531"/>
                  </a:cubicBezTo>
                  <a:cubicBezTo>
                    <a:pt x="370" y="531"/>
                    <a:pt x="370" y="531"/>
                    <a:pt x="370" y="531"/>
                  </a:cubicBezTo>
                  <a:cubicBezTo>
                    <a:pt x="343" y="531"/>
                    <a:pt x="321" y="509"/>
                    <a:pt x="321" y="482"/>
                  </a:cubicBezTo>
                  <a:cubicBezTo>
                    <a:pt x="321" y="421"/>
                    <a:pt x="321" y="421"/>
                    <a:pt x="321" y="421"/>
                  </a:cubicBezTo>
                  <a:cubicBezTo>
                    <a:pt x="321" y="394"/>
                    <a:pt x="343" y="372"/>
                    <a:pt x="370" y="372"/>
                  </a:cubicBezTo>
                  <a:cubicBezTo>
                    <a:pt x="494" y="372"/>
                    <a:pt x="494" y="372"/>
                    <a:pt x="494" y="372"/>
                  </a:cubicBezTo>
                  <a:cubicBezTo>
                    <a:pt x="494" y="246"/>
                    <a:pt x="494" y="246"/>
                    <a:pt x="494" y="246"/>
                  </a:cubicBezTo>
                  <a:cubicBezTo>
                    <a:pt x="494" y="219"/>
                    <a:pt x="515" y="197"/>
                    <a:pt x="543" y="197"/>
                  </a:cubicBezTo>
                  <a:cubicBezTo>
                    <a:pt x="603" y="197"/>
                    <a:pt x="603" y="197"/>
                    <a:pt x="603" y="197"/>
                  </a:cubicBezTo>
                  <a:cubicBezTo>
                    <a:pt x="630" y="197"/>
                    <a:pt x="652" y="219"/>
                    <a:pt x="652" y="246"/>
                  </a:cubicBezTo>
                  <a:cubicBezTo>
                    <a:pt x="652" y="372"/>
                    <a:pt x="652" y="372"/>
                    <a:pt x="652" y="372"/>
                  </a:cubicBezTo>
                  <a:cubicBezTo>
                    <a:pt x="778" y="372"/>
                    <a:pt x="778" y="372"/>
                    <a:pt x="778" y="372"/>
                  </a:cubicBezTo>
                  <a:cubicBezTo>
                    <a:pt x="806" y="372"/>
                    <a:pt x="828" y="394"/>
                    <a:pt x="828" y="421"/>
                  </a:cubicBezTo>
                  <a:cubicBezTo>
                    <a:pt x="828" y="482"/>
                    <a:pt x="828" y="482"/>
                    <a:pt x="828" y="482"/>
                  </a:cubicBezTo>
                  <a:cubicBezTo>
                    <a:pt x="828" y="482"/>
                    <a:pt x="828" y="482"/>
                    <a:pt x="828" y="482"/>
                  </a:cubicBezTo>
                  <a:close/>
                  <a:moveTo>
                    <a:pt x="2066" y="493"/>
                  </a:moveTo>
                  <a:cubicBezTo>
                    <a:pt x="2028" y="493"/>
                    <a:pt x="1480" y="493"/>
                    <a:pt x="1480" y="493"/>
                  </a:cubicBezTo>
                  <a:cubicBezTo>
                    <a:pt x="1447" y="493"/>
                    <a:pt x="1419" y="465"/>
                    <a:pt x="1419" y="432"/>
                  </a:cubicBezTo>
                  <a:cubicBezTo>
                    <a:pt x="1419" y="151"/>
                    <a:pt x="1419" y="151"/>
                    <a:pt x="1419" y="151"/>
                  </a:cubicBezTo>
                  <a:cubicBezTo>
                    <a:pt x="1419" y="115"/>
                    <a:pt x="1447" y="88"/>
                    <a:pt x="1480" y="88"/>
                  </a:cubicBezTo>
                  <a:cubicBezTo>
                    <a:pt x="1669" y="88"/>
                    <a:pt x="1669" y="88"/>
                    <a:pt x="1669" y="88"/>
                  </a:cubicBezTo>
                  <a:cubicBezTo>
                    <a:pt x="1715" y="88"/>
                    <a:pt x="1789" y="118"/>
                    <a:pt x="1822" y="151"/>
                  </a:cubicBezTo>
                  <a:cubicBezTo>
                    <a:pt x="1822" y="151"/>
                    <a:pt x="2058" y="378"/>
                    <a:pt x="2088" y="408"/>
                  </a:cubicBezTo>
                  <a:cubicBezTo>
                    <a:pt x="2126" y="443"/>
                    <a:pt x="2107" y="493"/>
                    <a:pt x="2066" y="493"/>
                  </a:cubicBezTo>
                  <a:close/>
                </a:path>
              </a:pathLst>
            </a:custGeom>
            <a:solidFill>
              <a:schemeClr val="tx2"/>
            </a:solidFill>
            <a:ln>
              <a:noFill/>
            </a:ln>
            <a:extLst/>
          </p:spPr>
          <p:txBody>
            <a:bodyPr vert="horz" wrap="square" lIns="67232" tIns="33616" rIns="67232" bIns="33616" numCol="1" anchor="t" anchorCtr="0" compatLnSpc="1">
              <a:prstTxWarp prst="textNoShape">
                <a:avLst/>
              </a:prstTxWarp>
            </a:bodyPr>
            <a:lstStyle/>
            <a:p>
              <a:pPr defTabSz="685845"/>
              <a:endParaRPr lang="en-US" sz="1324" dirty="0">
                <a:solidFill>
                  <a:srgbClr val="FFFFFF"/>
                </a:solidFill>
              </a:endParaRPr>
            </a:p>
          </p:txBody>
        </p:sp>
        <p:sp>
          <p:nvSpPr>
            <p:cNvPr id="44" name="Freeform 8"/>
            <p:cNvSpPr>
              <a:spLocks/>
            </p:cNvSpPr>
            <p:nvPr/>
          </p:nvSpPr>
          <p:spPr bwMode="auto">
            <a:xfrm>
              <a:off x="6618828" y="5602130"/>
              <a:ext cx="49352" cy="45418"/>
            </a:xfrm>
            <a:custGeom>
              <a:avLst/>
              <a:gdLst>
                <a:gd name="T0" fmla="*/ 175 w 175"/>
                <a:gd name="T1" fmla="*/ 87 h 161"/>
                <a:gd name="T2" fmla="*/ 88 w 175"/>
                <a:gd name="T3" fmla="*/ 0 h 161"/>
                <a:gd name="T4" fmla="*/ 0 w 175"/>
                <a:gd name="T5" fmla="*/ 87 h 161"/>
                <a:gd name="T6" fmla="*/ 0 w 175"/>
                <a:gd name="T7" fmla="*/ 161 h 161"/>
                <a:gd name="T8" fmla="*/ 175 w 175"/>
                <a:gd name="T9" fmla="*/ 161 h 161"/>
                <a:gd name="T10" fmla="*/ 175 w 175"/>
                <a:gd name="T11" fmla="*/ 87 h 161"/>
                <a:gd name="T12" fmla="*/ 175 w 175"/>
                <a:gd name="T13" fmla="*/ 87 h 161"/>
              </a:gdLst>
              <a:ahLst/>
              <a:cxnLst>
                <a:cxn ang="0">
                  <a:pos x="T0" y="T1"/>
                </a:cxn>
                <a:cxn ang="0">
                  <a:pos x="T2" y="T3"/>
                </a:cxn>
                <a:cxn ang="0">
                  <a:pos x="T4" y="T5"/>
                </a:cxn>
                <a:cxn ang="0">
                  <a:pos x="T6" y="T7"/>
                </a:cxn>
                <a:cxn ang="0">
                  <a:pos x="T8" y="T9"/>
                </a:cxn>
                <a:cxn ang="0">
                  <a:pos x="T10" y="T11"/>
                </a:cxn>
                <a:cxn ang="0">
                  <a:pos x="T12" y="T13"/>
                </a:cxn>
              </a:cxnLst>
              <a:rect l="0" t="0" r="r" b="b"/>
              <a:pathLst>
                <a:path w="175" h="161">
                  <a:moveTo>
                    <a:pt x="175" y="87"/>
                  </a:moveTo>
                  <a:cubicBezTo>
                    <a:pt x="175" y="38"/>
                    <a:pt x="137" y="0"/>
                    <a:pt x="88" y="0"/>
                  </a:cubicBezTo>
                  <a:cubicBezTo>
                    <a:pt x="39" y="0"/>
                    <a:pt x="0" y="38"/>
                    <a:pt x="0" y="87"/>
                  </a:cubicBezTo>
                  <a:cubicBezTo>
                    <a:pt x="0" y="161"/>
                    <a:pt x="0" y="161"/>
                    <a:pt x="0" y="161"/>
                  </a:cubicBezTo>
                  <a:cubicBezTo>
                    <a:pt x="175" y="161"/>
                    <a:pt x="175" y="161"/>
                    <a:pt x="175" y="161"/>
                  </a:cubicBezTo>
                  <a:cubicBezTo>
                    <a:pt x="175" y="87"/>
                    <a:pt x="175" y="87"/>
                    <a:pt x="175" y="87"/>
                  </a:cubicBezTo>
                  <a:cubicBezTo>
                    <a:pt x="175" y="87"/>
                    <a:pt x="175" y="87"/>
                    <a:pt x="175" y="87"/>
                  </a:cubicBezTo>
                  <a:close/>
                </a:path>
              </a:pathLst>
            </a:custGeom>
            <a:solidFill>
              <a:schemeClr val="tx2"/>
            </a:solidFill>
            <a:ln>
              <a:noFill/>
            </a:ln>
            <a:extLst/>
          </p:spPr>
          <p:txBody>
            <a:bodyPr vert="horz" wrap="square" lIns="67232" tIns="33616" rIns="67232" bIns="33616" numCol="1" anchor="t" anchorCtr="0" compatLnSpc="1">
              <a:prstTxWarp prst="textNoShape">
                <a:avLst/>
              </a:prstTxWarp>
            </a:bodyPr>
            <a:lstStyle/>
            <a:p>
              <a:pPr defTabSz="685845"/>
              <a:endParaRPr lang="en-US" sz="1324" dirty="0">
                <a:solidFill>
                  <a:srgbClr val="FFFFFF"/>
                </a:solidFill>
              </a:endParaRPr>
            </a:p>
          </p:txBody>
        </p:sp>
        <p:sp>
          <p:nvSpPr>
            <p:cNvPr id="45" name="Rectangle 44"/>
            <p:cNvSpPr/>
            <p:nvPr/>
          </p:nvSpPr>
          <p:spPr bwMode="auto">
            <a:xfrm>
              <a:off x="6276975" y="5711316"/>
              <a:ext cx="209550" cy="16232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cxnSp>
        <p:nvCxnSpPr>
          <p:cNvPr id="48" name="Straight Connector 47"/>
          <p:cNvCxnSpPr>
            <a:stCxn id="38" idx="11"/>
            <a:endCxn id="44" idx="1"/>
          </p:cNvCxnSpPr>
          <p:nvPr/>
        </p:nvCxnSpPr>
        <p:spPr>
          <a:xfrm flipH="1">
            <a:off x="6643645" y="2921145"/>
            <a:ext cx="675379" cy="2680985"/>
          </a:xfrm>
          <a:prstGeom prst="line">
            <a:avLst/>
          </a:prstGeom>
          <a:ln w="28575">
            <a:solidFill>
              <a:schemeClr val="tx1">
                <a:lumMod val="20000"/>
                <a:lumOff val="8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38" idx="9"/>
            <a:endCxn id="32" idx="1"/>
          </p:cNvCxnSpPr>
          <p:nvPr/>
        </p:nvCxnSpPr>
        <p:spPr>
          <a:xfrm>
            <a:off x="8174399" y="2921145"/>
            <a:ext cx="1134315" cy="2068688"/>
          </a:xfrm>
          <a:prstGeom prst="line">
            <a:avLst/>
          </a:prstGeom>
          <a:ln w="28575">
            <a:solidFill>
              <a:schemeClr val="tx1">
                <a:lumMod val="20000"/>
                <a:lumOff val="8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8894797" y="2742118"/>
            <a:ext cx="1725005" cy="648159"/>
          </a:xfrm>
          <a:prstGeom prst="line">
            <a:avLst/>
          </a:prstGeom>
          <a:ln w="28575">
            <a:solidFill>
              <a:schemeClr val="tx1">
                <a:lumMod val="20000"/>
                <a:lumOff val="8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a:stCxn id="39" idx="8"/>
          </p:cNvCxnSpPr>
          <p:nvPr/>
        </p:nvCxnSpPr>
        <p:spPr>
          <a:xfrm>
            <a:off x="8640851" y="2921145"/>
            <a:ext cx="667863" cy="578670"/>
          </a:xfrm>
          <a:prstGeom prst="line">
            <a:avLst/>
          </a:prstGeom>
          <a:ln w="28575">
            <a:solidFill>
              <a:schemeClr val="tx1">
                <a:lumMod val="20000"/>
                <a:lumOff val="8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stCxn id="38" idx="15"/>
            <a:endCxn id="69" idx="3"/>
          </p:cNvCxnSpPr>
          <p:nvPr/>
        </p:nvCxnSpPr>
        <p:spPr>
          <a:xfrm flipH="1">
            <a:off x="3162288" y="2921145"/>
            <a:ext cx="3931013" cy="2625050"/>
          </a:xfrm>
          <a:prstGeom prst="line">
            <a:avLst/>
          </a:prstGeom>
          <a:ln w="28575">
            <a:solidFill>
              <a:schemeClr val="tx1">
                <a:lumMod val="20000"/>
                <a:lumOff val="8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stCxn id="39" idx="6"/>
          </p:cNvCxnSpPr>
          <p:nvPr/>
        </p:nvCxnSpPr>
        <p:spPr>
          <a:xfrm>
            <a:off x="8762738" y="2364993"/>
            <a:ext cx="1628824" cy="117999"/>
          </a:xfrm>
          <a:prstGeom prst="line">
            <a:avLst/>
          </a:prstGeom>
          <a:ln w="28575">
            <a:solidFill>
              <a:schemeClr val="tx1">
                <a:lumMod val="20000"/>
                <a:lumOff val="8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6" name="Freeform 65"/>
          <p:cNvSpPr>
            <a:spLocks noChangeAspect="1"/>
          </p:cNvSpPr>
          <p:nvPr/>
        </p:nvSpPr>
        <p:spPr bwMode="black">
          <a:xfrm>
            <a:off x="10559519" y="2364993"/>
            <a:ext cx="428908" cy="399761"/>
          </a:xfrm>
          <a:custGeom>
            <a:avLst/>
            <a:gdLst>
              <a:gd name="connsiteX0" fmla="*/ 1705224 w 1904098"/>
              <a:gd name="connsiteY0" fmla="*/ 0 h 1774700"/>
              <a:gd name="connsiteX1" fmla="*/ 1725798 w 1904098"/>
              <a:gd name="connsiteY1" fmla="*/ 5130 h 1774700"/>
              <a:gd name="connsiteX2" fmla="*/ 1904098 w 1904098"/>
              <a:gd name="connsiteY2" fmla="*/ 5130 h 1774700"/>
              <a:gd name="connsiteX3" fmla="*/ 1904098 w 1904098"/>
              <a:gd name="connsiteY3" fmla="*/ 105790 h 1774700"/>
              <a:gd name="connsiteX4" fmla="*/ 1782590 w 1904098"/>
              <a:gd name="connsiteY4" fmla="*/ 105790 h 1774700"/>
              <a:gd name="connsiteX5" fmla="*/ 1437871 w 1904098"/>
              <a:gd name="connsiteY5" fmla="*/ 1488381 h 1774700"/>
              <a:gd name="connsiteX6" fmla="*/ 1437871 w 1904098"/>
              <a:gd name="connsiteY6" fmla="*/ 1541451 h 1774700"/>
              <a:gd name="connsiteX7" fmla="*/ 1461386 w 1904098"/>
              <a:gd name="connsiteY7" fmla="*/ 1557305 h 1774700"/>
              <a:gd name="connsiteX8" fmla="*/ 1498685 w 1904098"/>
              <a:gd name="connsiteY8" fmla="*/ 1647353 h 1774700"/>
              <a:gd name="connsiteX9" fmla="*/ 1371338 w 1904098"/>
              <a:gd name="connsiteY9" fmla="*/ 1774700 h 1774700"/>
              <a:gd name="connsiteX10" fmla="*/ 1243991 w 1904098"/>
              <a:gd name="connsiteY10" fmla="*/ 1647353 h 1774700"/>
              <a:gd name="connsiteX11" fmla="*/ 1281290 w 1904098"/>
              <a:gd name="connsiteY11" fmla="*/ 1557305 h 1774700"/>
              <a:gd name="connsiteX12" fmla="*/ 1294468 w 1904098"/>
              <a:gd name="connsiteY12" fmla="*/ 1548420 h 1774700"/>
              <a:gd name="connsiteX13" fmla="*/ 503178 w 1904098"/>
              <a:gd name="connsiteY13" fmla="*/ 1548420 h 1774700"/>
              <a:gd name="connsiteX14" fmla="*/ 516356 w 1904098"/>
              <a:gd name="connsiteY14" fmla="*/ 1557305 h 1774700"/>
              <a:gd name="connsiteX15" fmla="*/ 553655 w 1904098"/>
              <a:gd name="connsiteY15" fmla="*/ 1647353 h 1774700"/>
              <a:gd name="connsiteX16" fmla="*/ 426308 w 1904098"/>
              <a:gd name="connsiteY16" fmla="*/ 1774700 h 1774700"/>
              <a:gd name="connsiteX17" fmla="*/ 298961 w 1904098"/>
              <a:gd name="connsiteY17" fmla="*/ 1647353 h 1774700"/>
              <a:gd name="connsiteX18" fmla="*/ 336260 w 1904098"/>
              <a:gd name="connsiteY18" fmla="*/ 1557305 h 1774700"/>
              <a:gd name="connsiteX19" fmla="*/ 349438 w 1904098"/>
              <a:gd name="connsiteY19" fmla="*/ 1548420 h 1774700"/>
              <a:gd name="connsiteX20" fmla="*/ 145556 w 1904098"/>
              <a:gd name="connsiteY20" fmla="*/ 1548420 h 1774700"/>
              <a:gd name="connsiteX21" fmla="*/ 145556 w 1904098"/>
              <a:gd name="connsiteY21" fmla="*/ 1447760 h 1774700"/>
              <a:gd name="connsiteX22" fmla="*/ 1344257 w 1904098"/>
              <a:gd name="connsiteY22" fmla="*/ 1447760 h 1774700"/>
              <a:gd name="connsiteX23" fmla="*/ 1413761 w 1904098"/>
              <a:gd name="connsiteY23" fmla="*/ 1168994 h 1774700"/>
              <a:gd name="connsiteX24" fmla="*/ 222344 w 1904098"/>
              <a:gd name="connsiteY24" fmla="*/ 1168994 h 1774700"/>
              <a:gd name="connsiteX25" fmla="*/ 0 w 1904098"/>
              <a:gd name="connsiteY25" fmla="*/ 279619 h 1774700"/>
              <a:gd name="connsiteX26" fmla="*/ 1635508 w 1904098"/>
              <a:gd name="connsiteY26" fmla="*/ 279619 h 177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04098" h="1774700">
                <a:moveTo>
                  <a:pt x="1705224" y="0"/>
                </a:moveTo>
                <a:lnTo>
                  <a:pt x="1725798" y="5130"/>
                </a:lnTo>
                <a:lnTo>
                  <a:pt x="1904098" y="5130"/>
                </a:lnTo>
                <a:lnTo>
                  <a:pt x="1904098" y="105790"/>
                </a:lnTo>
                <a:lnTo>
                  <a:pt x="1782590" y="105790"/>
                </a:lnTo>
                <a:lnTo>
                  <a:pt x="1437871" y="1488381"/>
                </a:lnTo>
                <a:lnTo>
                  <a:pt x="1437871" y="1541451"/>
                </a:lnTo>
                <a:lnTo>
                  <a:pt x="1461386" y="1557305"/>
                </a:lnTo>
                <a:cubicBezTo>
                  <a:pt x="1484431" y="1580351"/>
                  <a:pt x="1498685" y="1612187"/>
                  <a:pt x="1498685" y="1647353"/>
                </a:cubicBezTo>
                <a:cubicBezTo>
                  <a:pt x="1498685" y="1717685"/>
                  <a:pt x="1441670" y="1774700"/>
                  <a:pt x="1371338" y="1774700"/>
                </a:cubicBezTo>
                <a:cubicBezTo>
                  <a:pt x="1301006" y="1774700"/>
                  <a:pt x="1243991" y="1717685"/>
                  <a:pt x="1243991" y="1647353"/>
                </a:cubicBezTo>
                <a:cubicBezTo>
                  <a:pt x="1243991" y="1612187"/>
                  <a:pt x="1258245" y="1580351"/>
                  <a:pt x="1281290" y="1557305"/>
                </a:cubicBezTo>
                <a:lnTo>
                  <a:pt x="1294468" y="1548420"/>
                </a:lnTo>
                <a:lnTo>
                  <a:pt x="503178" y="1548420"/>
                </a:lnTo>
                <a:lnTo>
                  <a:pt x="516356" y="1557305"/>
                </a:lnTo>
                <a:cubicBezTo>
                  <a:pt x="539401" y="1580351"/>
                  <a:pt x="553655" y="1612187"/>
                  <a:pt x="553655" y="1647353"/>
                </a:cubicBezTo>
                <a:cubicBezTo>
                  <a:pt x="553655" y="1717685"/>
                  <a:pt x="496640" y="1774700"/>
                  <a:pt x="426308" y="1774700"/>
                </a:cubicBezTo>
                <a:cubicBezTo>
                  <a:pt x="355976" y="1774700"/>
                  <a:pt x="298961" y="1717685"/>
                  <a:pt x="298961" y="1647353"/>
                </a:cubicBezTo>
                <a:cubicBezTo>
                  <a:pt x="298961" y="1612187"/>
                  <a:pt x="313215" y="1580351"/>
                  <a:pt x="336260" y="1557305"/>
                </a:cubicBezTo>
                <a:lnTo>
                  <a:pt x="349438" y="1548420"/>
                </a:lnTo>
                <a:lnTo>
                  <a:pt x="145556" y="1548420"/>
                </a:lnTo>
                <a:lnTo>
                  <a:pt x="145556" y="1447760"/>
                </a:lnTo>
                <a:lnTo>
                  <a:pt x="1344257" y="1447760"/>
                </a:lnTo>
                <a:lnTo>
                  <a:pt x="1413761" y="1168994"/>
                </a:lnTo>
                <a:lnTo>
                  <a:pt x="222344" y="1168994"/>
                </a:lnTo>
                <a:lnTo>
                  <a:pt x="0" y="279619"/>
                </a:lnTo>
                <a:lnTo>
                  <a:pt x="1635508" y="279619"/>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7" name="Freeform 66"/>
          <p:cNvSpPr>
            <a:spLocks noChangeAspect="1"/>
          </p:cNvSpPr>
          <p:nvPr/>
        </p:nvSpPr>
        <p:spPr bwMode="black">
          <a:xfrm flipH="1">
            <a:off x="10607690" y="3399012"/>
            <a:ext cx="640080" cy="410793"/>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chemeClr val="tx1"/>
              </a:solidFill>
            </a:endParaRPr>
          </a:p>
        </p:txBody>
      </p:sp>
      <p:sp>
        <p:nvSpPr>
          <p:cNvPr id="68" name="TextBox 67"/>
          <p:cNvSpPr txBox="1"/>
          <p:nvPr/>
        </p:nvSpPr>
        <p:spPr>
          <a:xfrm>
            <a:off x="9328455" y="3344877"/>
            <a:ext cx="352234" cy="794064"/>
          </a:xfrm>
          <a:prstGeom prst="rect">
            <a:avLst/>
          </a:prstGeom>
          <a:noFill/>
        </p:spPr>
        <p:txBody>
          <a:bodyPr wrap="square" lIns="182880" tIns="146304" rIns="182880" bIns="146304" rtlCol="0">
            <a:spAutoFit/>
          </a:bodyPr>
          <a:lstStyle/>
          <a:p>
            <a:pPr algn="ctr">
              <a:lnSpc>
                <a:spcPct val="90000"/>
              </a:lnSpc>
              <a:spcAft>
                <a:spcPts val="600"/>
              </a:spcAft>
            </a:pPr>
            <a:r>
              <a:rPr lang="en-US" sz="3600" dirty="0">
                <a:solidFill>
                  <a:schemeClr val="tx2"/>
                </a:solidFill>
              </a:rPr>
              <a:t>$</a:t>
            </a:r>
          </a:p>
        </p:txBody>
      </p:sp>
      <p:sp>
        <p:nvSpPr>
          <p:cNvPr id="69" name="Rectangle 12"/>
          <p:cNvSpPr>
            <a:spLocks noChangeArrowheads="1"/>
          </p:cNvSpPr>
          <p:nvPr/>
        </p:nvSpPr>
        <p:spPr bwMode="auto">
          <a:xfrm>
            <a:off x="510528" y="5066914"/>
            <a:ext cx="2651760" cy="958562"/>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70" name="Rectangle 13"/>
          <p:cNvSpPr>
            <a:spLocks noChangeArrowheads="1"/>
          </p:cNvSpPr>
          <p:nvPr/>
        </p:nvSpPr>
        <p:spPr bwMode="auto">
          <a:xfrm>
            <a:off x="471044" y="5037301"/>
            <a:ext cx="2651760" cy="29613"/>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73" name="Rectangle 16"/>
          <p:cNvSpPr>
            <a:spLocks noChangeArrowheads="1"/>
          </p:cNvSpPr>
          <p:nvPr/>
        </p:nvSpPr>
        <p:spPr bwMode="auto">
          <a:xfrm>
            <a:off x="586203" y="5149170"/>
            <a:ext cx="2468880" cy="101999"/>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74" name="Rectangle 17"/>
          <p:cNvSpPr>
            <a:spLocks noChangeArrowheads="1"/>
          </p:cNvSpPr>
          <p:nvPr/>
        </p:nvSpPr>
        <p:spPr bwMode="auto">
          <a:xfrm>
            <a:off x="586203" y="5321360"/>
            <a:ext cx="2468880" cy="100901"/>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75" name="Rectangle 18"/>
          <p:cNvSpPr>
            <a:spLocks noChangeArrowheads="1"/>
          </p:cNvSpPr>
          <p:nvPr/>
        </p:nvSpPr>
        <p:spPr bwMode="auto">
          <a:xfrm>
            <a:off x="586203" y="5495743"/>
            <a:ext cx="2468880" cy="98708"/>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76" name="Rectangle 19"/>
          <p:cNvSpPr>
            <a:spLocks noChangeArrowheads="1"/>
          </p:cNvSpPr>
          <p:nvPr/>
        </p:nvSpPr>
        <p:spPr bwMode="auto">
          <a:xfrm>
            <a:off x="586203" y="5667934"/>
            <a:ext cx="2468880" cy="100901"/>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77" name="Rectangle 14"/>
          <p:cNvSpPr>
            <a:spLocks noChangeArrowheads="1"/>
          </p:cNvSpPr>
          <p:nvPr/>
        </p:nvSpPr>
        <p:spPr bwMode="auto">
          <a:xfrm>
            <a:off x="2712151" y="5800717"/>
            <a:ext cx="100901" cy="195222"/>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78" name="Rectangle 15"/>
          <p:cNvSpPr>
            <a:spLocks noChangeArrowheads="1"/>
          </p:cNvSpPr>
          <p:nvPr/>
        </p:nvSpPr>
        <p:spPr bwMode="auto">
          <a:xfrm>
            <a:off x="2536670" y="5800717"/>
            <a:ext cx="100901" cy="195222"/>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79" name="Rectangle 24"/>
          <p:cNvSpPr>
            <a:spLocks noChangeArrowheads="1"/>
          </p:cNvSpPr>
          <p:nvPr/>
        </p:nvSpPr>
        <p:spPr bwMode="auto">
          <a:xfrm>
            <a:off x="386204" y="6011870"/>
            <a:ext cx="2926080" cy="48257"/>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cxnSp>
        <p:nvCxnSpPr>
          <p:cNvPr id="82" name="Straight Connector 81"/>
          <p:cNvCxnSpPr/>
          <p:nvPr/>
        </p:nvCxnSpPr>
        <p:spPr>
          <a:xfrm flipH="1">
            <a:off x="712529" y="4763004"/>
            <a:ext cx="316173" cy="271891"/>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0" name="Rectangle 79"/>
          <p:cNvSpPr/>
          <p:nvPr/>
        </p:nvSpPr>
        <p:spPr bwMode="auto">
          <a:xfrm>
            <a:off x="829237" y="4586903"/>
            <a:ext cx="2089276" cy="448480"/>
          </a:xfrm>
          <a:prstGeom prst="rect">
            <a:avLst/>
          </a:prstGeom>
          <a:solidFill>
            <a:schemeClr val="bg1">
              <a:lumMod val="95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tx2"/>
                </a:solidFill>
                <a:latin typeface="Arial Black" panose="020B0A04020102020204" pitchFamily="34" charset="0"/>
                <a:ea typeface="Segoe UI" pitchFamily="34" charset="0"/>
                <a:cs typeface="Segoe UI" pitchFamily="34" charset="0"/>
              </a:rPr>
              <a:t>HVAC</a:t>
            </a:r>
          </a:p>
        </p:txBody>
      </p:sp>
      <p:cxnSp>
        <p:nvCxnSpPr>
          <p:cNvPr id="85" name="Straight Connector 84"/>
          <p:cNvCxnSpPr>
            <a:stCxn id="80" idx="3"/>
          </p:cNvCxnSpPr>
          <p:nvPr/>
        </p:nvCxnSpPr>
        <p:spPr>
          <a:xfrm>
            <a:off x="2918513" y="4811143"/>
            <a:ext cx="173977" cy="276273"/>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89" name="Picture 2" descr="https://www.wifipineapple.com/assets/img/icons/flat/intercept.png"/>
          <p:cNvPicPr>
            <a:picLocks noChangeAspect="1" noChangeArrowheads="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85350" y="2883213"/>
            <a:ext cx="826437" cy="826437"/>
          </a:xfrm>
          <a:prstGeom prst="rect">
            <a:avLst/>
          </a:prstGeom>
          <a:noFill/>
          <a:extLst>
            <a:ext uri="{909E8E84-426E-40DD-AFC4-6F175D3DCCD1}">
              <a14:hiddenFill xmlns:a14="http://schemas.microsoft.com/office/drawing/2010/main">
                <a:solidFill>
                  <a:srgbClr val="FFFFFF"/>
                </a:solidFill>
              </a14:hiddenFill>
            </a:ext>
          </a:extLst>
        </p:spPr>
      </p:pic>
      <p:cxnSp>
        <p:nvCxnSpPr>
          <p:cNvPr id="91" name="Straight Arrow Connector 90"/>
          <p:cNvCxnSpPr>
            <a:stCxn id="89" idx="2"/>
          </p:cNvCxnSpPr>
          <p:nvPr/>
        </p:nvCxnSpPr>
        <p:spPr>
          <a:xfrm>
            <a:off x="1698569" y="3709650"/>
            <a:ext cx="0" cy="877253"/>
          </a:xfrm>
          <a:prstGeom prst="straightConnector1">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flipV="1">
            <a:off x="3166791" y="2889263"/>
            <a:ext cx="3620089" cy="2432097"/>
          </a:xfrm>
          <a:prstGeom prst="straightConnector1">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6" name="Freeform 70"/>
          <p:cNvSpPr>
            <a:spLocks noChangeAspect="1"/>
          </p:cNvSpPr>
          <p:nvPr/>
        </p:nvSpPr>
        <p:spPr bwMode="black">
          <a:xfrm>
            <a:off x="1881096" y="4063749"/>
            <a:ext cx="303944" cy="438607"/>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911" tIns="75929" rIns="94911" bIns="75929" numCol="1" spcCol="0" rtlCol="0" fromWordArt="0" anchor="t" anchorCtr="0" forceAA="0" compatLnSpc="1">
            <a:prstTxWarp prst="textNoShape">
              <a:avLst/>
            </a:prstTxWarp>
            <a:noAutofit/>
          </a:bodyPr>
          <a:lstStyle/>
          <a:p>
            <a:pPr algn="ctr" defTabSz="483924" fontAlgn="base">
              <a:lnSpc>
                <a:spcPct val="90000"/>
              </a:lnSpc>
              <a:spcBef>
                <a:spcPct val="0"/>
              </a:spcBef>
              <a:spcAft>
                <a:spcPct val="0"/>
              </a:spcAft>
            </a:pPr>
            <a:endParaRPr lang="en-US" sz="1246" dirty="0">
              <a:gradFill>
                <a:gsLst>
                  <a:gs pos="0">
                    <a:srgbClr val="FFFFFF"/>
                  </a:gs>
                  <a:gs pos="100000">
                    <a:srgbClr val="FFFFFF"/>
                  </a:gs>
                </a:gsLst>
                <a:lin ang="5400000" scaled="0"/>
              </a:gradFill>
              <a:ea typeface="Segoe UI" pitchFamily="34" charset="0"/>
              <a:cs typeface="Segoe UI" pitchFamily="34" charset="0"/>
            </a:endParaRPr>
          </a:p>
        </p:txBody>
      </p:sp>
      <p:sp>
        <p:nvSpPr>
          <p:cNvPr id="97" name="Freeform 70"/>
          <p:cNvSpPr>
            <a:spLocks noChangeAspect="1"/>
          </p:cNvSpPr>
          <p:nvPr/>
        </p:nvSpPr>
        <p:spPr bwMode="black">
          <a:xfrm>
            <a:off x="6454470" y="2522550"/>
            <a:ext cx="303944" cy="438607"/>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911" tIns="75929" rIns="94911" bIns="75929" numCol="1" spcCol="0" rtlCol="0" fromWordArt="0" anchor="t" anchorCtr="0" forceAA="0" compatLnSpc="1">
            <a:prstTxWarp prst="textNoShape">
              <a:avLst/>
            </a:prstTxWarp>
            <a:noAutofit/>
          </a:bodyPr>
          <a:lstStyle/>
          <a:p>
            <a:pPr algn="ctr" defTabSz="483924" fontAlgn="base">
              <a:lnSpc>
                <a:spcPct val="90000"/>
              </a:lnSpc>
              <a:spcBef>
                <a:spcPct val="0"/>
              </a:spcBef>
              <a:spcAft>
                <a:spcPct val="0"/>
              </a:spcAft>
            </a:pPr>
            <a:endParaRPr lang="en-US" sz="1246" dirty="0">
              <a:gradFill>
                <a:gsLst>
                  <a:gs pos="0">
                    <a:srgbClr val="FFFFFF"/>
                  </a:gs>
                  <a:gs pos="100000">
                    <a:srgbClr val="FFFFFF"/>
                  </a:gs>
                </a:gsLst>
                <a:lin ang="5400000" scaled="0"/>
              </a:gradFill>
              <a:ea typeface="Segoe UI" pitchFamily="34" charset="0"/>
              <a:cs typeface="Segoe UI" pitchFamily="34" charset="0"/>
            </a:endParaRPr>
          </a:p>
        </p:txBody>
      </p:sp>
      <p:sp>
        <p:nvSpPr>
          <p:cNvPr id="98" name="TextBox 97"/>
          <p:cNvSpPr txBox="1"/>
          <p:nvPr/>
        </p:nvSpPr>
        <p:spPr>
          <a:xfrm>
            <a:off x="2151777" y="2885211"/>
            <a:ext cx="3067050" cy="960263"/>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Hackers steal HVAC passwords from vendor, then break into Target’s network.</a:t>
            </a:r>
          </a:p>
        </p:txBody>
      </p:sp>
      <p:sp>
        <p:nvSpPr>
          <p:cNvPr id="99" name="TextBox 98"/>
          <p:cNvSpPr txBox="1"/>
          <p:nvPr/>
        </p:nvSpPr>
        <p:spPr>
          <a:xfrm>
            <a:off x="9422932" y="3854900"/>
            <a:ext cx="2769068" cy="960263"/>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Hackers able to steal credit card information from Target customers </a:t>
            </a:r>
          </a:p>
        </p:txBody>
      </p:sp>
      <p:cxnSp>
        <p:nvCxnSpPr>
          <p:cNvPr id="100" name="Straight Arrow Connector 99"/>
          <p:cNvCxnSpPr>
            <a:endCxn id="68" idx="1"/>
          </p:cNvCxnSpPr>
          <p:nvPr/>
        </p:nvCxnSpPr>
        <p:spPr>
          <a:xfrm>
            <a:off x="8574907" y="3027673"/>
            <a:ext cx="753548" cy="714236"/>
          </a:xfrm>
          <a:prstGeom prst="straightConnector1">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500519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Origins of the cloud</a:t>
            </a:r>
          </a:p>
        </p:txBody>
      </p:sp>
      <p:sp>
        <p:nvSpPr>
          <p:cNvPr id="3" name="TextBox 2"/>
          <p:cNvSpPr txBox="1"/>
          <p:nvPr/>
        </p:nvSpPr>
        <p:spPr>
          <a:xfrm>
            <a:off x="269240" y="963385"/>
            <a:ext cx="11522490" cy="600164"/>
          </a:xfrm>
          <a:prstGeom prst="rect">
            <a:avLst/>
          </a:prstGeom>
          <a:noFill/>
        </p:spPr>
        <p:txBody>
          <a:bodyPr wrap="square" lIns="182880" tIns="146304" rIns="182880" bIns="146304" rtlCol="0">
            <a:spAutoFit/>
          </a:bodyPr>
          <a:lstStyle/>
          <a:p>
            <a:pPr>
              <a:lnSpc>
                <a:spcPct val="90000"/>
              </a:lnSpc>
              <a:spcAft>
                <a:spcPts val="600"/>
              </a:spcAft>
            </a:pPr>
            <a:r>
              <a:rPr lang="en-US" sz="2200" dirty="0">
                <a:gradFill>
                  <a:gsLst>
                    <a:gs pos="2917">
                      <a:schemeClr val="tx1"/>
                    </a:gs>
                    <a:gs pos="30000">
                      <a:schemeClr val="tx1"/>
                    </a:gs>
                  </a:gsLst>
                  <a:lin ang="5400000" scaled="0"/>
                </a:gradFill>
                <a:latin typeface="+mj-lt"/>
              </a:rPr>
              <a:t>The goal of the cloud was to connect people and data from anywhere in the world at any time</a:t>
            </a:r>
            <a:endParaRPr lang="en-US" sz="2000" dirty="0">
              <a:gradFill>
                <a:gsLst>
                  <a:gs pos="2917">
                    <a:schemeClr val="tx1"/>
                  </a:gs>
                  <a:gs pos="30000">
                    <a:schemeClr val="tx1"/>
                  </a:gs>
                </a:gsLst>
                <a:lin ang="5400000" scaled="0"/>
              </a:gradFill>
              <a:latin typeface="+mj-lt"/>
            </a:endParaRPr>
          </a:p>
        </p:txBody>
      </p:sp>
      <p:sp>
        <p:nvSpPr>
          <p:cNvPr id="4" name="Freeform 14"/>
          <p:cNvSpPr>
            <a:spLocks noEditPoints="1"/>
          </p:cNvSpPr>
          <p:nvPr/>
        </p:nvSpPr>
        <p:spPr bwMode="auto">
          <a:xfrm>
            <a:off x="399879" y="4201885"/>
            <a:ext cx="557558" cy="463690"/>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5" name="Freeform 14"/>
          <p:cNvSpPr>
            <a:spLocks noEditPoints="1"/>
          </p:cNvSpPr>
          <p:nvPr/>
        </p:nvSpPr>
        <p:spPr bwMode="auto">
          <a:xfrm>
            <a:off x="1140531" y="4201885"/>
            <a:ext cx="557558" cy="463690"/>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6" name="Freeform 14"/>
          <p:cNvSpPr>
            <a:spLocks noEditPoints="1"/>
          </p:cNvSpPr>
          <p:nvPr/>
        </p:nvSpPr>
        <p:spPr bwMode="auto">
          <a:xfrm>
            <a:off x="1881183" y="4201885"/>
            <a:ext cx="557558" cy="463690"/>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7" name="Freeform 14"/>
          <p:cNvSpPr>
            <a:spLocks noEditPoints="1"/>
          </p:cNvSpPr>
          <p:nvPr/>
        </p:nvSpPr>
        <p:spPr bwMode="auto">
          <a:xfrm>
            <a:off x="2621835" y="4201885"/>
            <a:ext cx="557558" cy="463690"/>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8" name="Freeform 14"/>
          <p:cNvSpPr>
            <a:spLocks noEditPoints="1"/>
          </p:cNvSpPr>
          <p:nvPr/>
        </p:nvSpPr>
        <p:spPr bwMode="auto">
          <a:xfrm>
            <a:off x="3362486" y="4201885"/>
            <a:ext cx="557558" cy="463690"/>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9" name="Freeform 14"/>
          <p:cNvSpPr>
            <a:spLocks noEditPoints="1"/>
          </p:cNvSpPr>
          <p:nvPr/>
        </p:nvSpPr>
        <p:spPr bwMode="auto">
          <a:xfrm>
            <a:off x="399879" y="4833624"/>
            <a:ext cx="557558" cy="463690"/>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0" name="Freeform 14"/>
          <p:cNvSpPr>
            <a:spLocks noEditPoints="1"/>
          </p:cNvSpPr>
          <p:nvPr/>
        </p:nvSpPr>
        <p:spPr bwMode="auto">
          <a:xfrm>
            <a:off x="1140531" y="4833624"/>
            <a:ext cx="557558" cy="463690"/>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1" name="Freeform 14"/>
          <p:cNvSpPr>
            <a:spLocks noEditPoints="1"/>
          </p:cNvSpPr>
          <p:nvPr/>
        </p:nvSpPr>
        <p:spPr bwMode="auto">
          <a:xfrm>
            <a:off x="1881183" y="4833624"/>
            <a:ext cx="557558" cy="463690"/>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2" name="Freeform 14"/>
          <p:cNvSpPr>
            <a:spLocks noEditPoints="1"/>
          </p:cNvSpPr>
          <p:nvPr/>
        </p:nvSpPr>
        <p:spPr bwMode="auto">
          <a:xfrm>
            <a:off x="2621835" y="4833624"/>
            <a:ext cx="557558" cy="463690"/>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3" name="Freeform 14"/>
          <p:cNvSpPr>
            <a:spLocks noEditPoints="1"/>
          </p:cNvSpPr>
          <p:nvPr/>
        </p:nvSpPr>
        <p:spPr bwMode="auto">
          <a:xfrm>
            <a:off x="3362486" y="4833624"/>
            <a:ext cx="557558" cy="463690"/>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4" name="Freeform 14"/>
          <p:cNvSpPr>
            <a:spLocks noEditPoints="1"/>
          </p:cNvSpPr>
          <p:nvPr/>
        </p:nvSpPr>
        <p:spPr bwMode="auto">
          <a:xfrm>
            <a:off x="399879" y="5465363"/>
            <a:ext cx="557558" cy="463690"/>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5" name="Freeform 62"/>
          <p:cNvSpPr>
            <a:spLocks noEditPoints="1"/>
          </p:cNvSpPr>
          <p:nvPr/>
        </p:nvSpPr>
        <p:spPr bwMode="auto">
          <a:xfrm>
            <a:off x="1140531" y="5465363"/>
            <a:ext cx="557558" cy="463690"/>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6" name="Freeform 14"/>
          <p:cNvSpPr>
            <a:spLocks noEditPoints="1"/>
          </p:cNvSpPr>
          <p:nvPr/>
        </p:nvSpPr>
        <p:spPr bwMode="auto">
          <a:xfrm>
            <a:off x="1881183" y="5465363"/>
            <a:ext cx="557558" cy="463690"/>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7" name="Freeform 14"/>
          <p:cNvSpPr>
            <a:spLocks noEditPoints="1"/>
          </p:cNvSpPr>
          <p:nvPr/>
        </p:nvSpPr>
        <p:spPr bwMode="auto">
          <a:xfrm>
            <a:off x="2621835" y="5465363"/>
            <a:ext cx="557558" cy="463690"/>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8" name="Freeform 14"/>
          <p:cNvSpPr>
            <a:spLocks noEditPoints="1"/>
          </p:cNvSpPr>
          <p:nvPr/>
        </p:nvSpPr>
        <p:spPr bwMode="auto">
          <a:xfrm>
            <a:off x="3362486" y="5465363"/>
            <a:ext cx="557558" cy="463690"/>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cxnSp>
        <p:nvCxnSpPr>
          <p:cNvPr id="20" name="Straight Connector 19458"/>
          <p:cNvCxnSpPr/>
          <p:nvPr/>
        </p:nvCxnSpPr>
        <p:spPr>
          <a:xfrm>
            <a:off x="360702" y="4417279"/>
            <a:ext cx="3551646" cy="0"/>
          </a:xfrm>
          <a:prstGeom prst="line">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19459"/>
          <p:cNvCxnSpPr/>
          <p:nvPr/>
        </p:nvCxnSpPr>
        <p:spPr>
          <a:xfrm>
            <a:off x="360702" y="5043207"/>
            <a:ext cx="3551646" cy="0"/>
          </a:xfrm>
          <a:prstGeom prst="line">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19460"/>
          <p:cNvCxnSpPr/>
          <p:nvPr/>
        </p:nvCxnSpPr>
        <p:spPr>
          <a:xfrm>
            <a:off x="368398" y="5652807"/>
            <a:ext cx="3551646" cy="0"/>
          </a:xfrm>
          <a:prstGeom prst="line">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19461"/>
          <p:cNvCxnSpPr/>
          <p:nvPr/>
        </p:nvCxnSpPr>
        <p:spPr>
          <a:xfrm>
            <a:off x="3892833" y="4417279"/>
            <a:ext cx="0" cy="625928"/>
          </a:xfrm>
          <a:prstGeom prst="line">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19462"/>
          <p:cNvCxnSpPr/>
          <p:nvPr/>
        </p:nvCxnSpPr>
        <p:spPr>
          <a:xfrm>
            <a:off x="368398" y="5043207"/>
            <a:ext cx="0" cy="625928"/>
          </a:xfrm>
          <a:prstGeom prst="line">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196439" y="2368046"/>
            <a:ext cx="0" cy="3749040"/>
          </a:xfrm>
          <a:prstGeom prst="line">
            <a:avLst/>
          </a:prstGeom>
          <a:ln>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07340" y="2012310"/>
            <a:ext cx="3697956" cy="1126462"/>
          </a:xfrm>
          <a:prstGeom prst="rect">
            <a:avLst/>
          </a:prstGeom>
          <a:noFill/>
        </p:spPr>
        <p:txBody>
          <a:bodyPr wrap="square" lIns="182880" tIns="146304" rIns="182880" bIns="146304" rtlCol="0">
            <a:spAutoFit/>
          </a:bodyPr>
          <a:lstStyle/>
          <a:p>
            <a:pPr>
              <a:lnSpc>
                <a:spcPct val="90000"/>
              </a:lnSpc>
              <a:spcAft>
                <a:spcPts val="600"/>
              </a:spcAft>
            </a:pPr>
            <a:r>
              <a:rPr lang="en-US" sz="2000" b="1" dirty="0">
                <a:solidFill>
                  <a:schemeClr val="tx2"/>
                </a:solidFill>
                <a:latin typeface="+mj-lt"/>
              </a:rPr>
              <a:t>1983</a:t>
            </a:r>
            <a:r>
              <a:rPr lang="en-US" sz="2000" dirty="0">
                <a:gradFill>
                  <a:gsLst>
                    <a:gs pos="2917">
                      <a:schemeClr val="tx1"/>
                    </a:gs>
                    <a:gs pos="30000">
                      <a:schemeClr val="tx1"/>
                    </a:gs>
                  </a:gsLst>
                  <a:lin ang="5400000" scaled="0"/>
                </a:gradFill>
                <a:latin typeface="+mj-lt"/>
              </a:rPr>
              <a:t> – CompuServe attaches computers together to create shared storage </a:t>
            </a:r>
          </a:p>
        </p:txBody>
      </p:sp>
      <p:sp>
        <p:nvSpPr>
          <p:cNvPr id="33" name="TextBox 32"/>
          <p:cNvSpPr txBox="1"/>
          <p:nvPr/>
        </p:nvSpPr>
        <p:spPr>
          <a:xfrm>
            <a:off x="4468938" y="2012310"/>
            <a:ext cx="3697956" cy="1680460"/>
          </a:xfrm>
          <a:prstGeom prst="rect">
            <a:avLst/>
          </a:prstGeom>
          <a:noFill/>
        </p:spPr>
        <p:txBody>
          <a:bodyPr wrap="square" lIns="182880" tIns="146304" rIns="182880" bIns="146304" rtlCol="0">
            <a:spAutoFit/>
          </a:bodyPr>
          <a:lstStyle/>
          <a:p>
            <a:pPr>
              <a:lnSpc>
                <a:spcPct val="90000"/>
              </a:lnSpc>
              <a:spcAft>
                <a:spcPts val="600"/>
              </a:spcAft>
            </a:pPr>
            <a:r>
              <a:rPr lang="en-US" sz="2000" b="1" dirty="0">
                <a:solidFill>
                  <a:schemeClr val="tx2"/>
                </a:solidFill>
                <a:latin typeface="+mj-lt"/>
              </a:rPr>
              <a:t>1994</a:t>
            </a:r>
            <a:r>
              <a:rPr lang="en-US" sz="2000" dirty="0">
                <a:gradFill>
                  <a:gsLst>
                    <a:gs pos="2917">
                      <a:schemeClr val="tx1"/>
                    </a:gs>
                    <a:gs pos="30000">
                      <a:schemeClr val="tx1"/>
                    </a:gs>
                  </a:gsLst>
                  <a:lin ang="5400000" scaled="0"/>
                </a:gradFill>
                <a:latin typeface="+mj-lt"/>
              </a:rPr>
              <a:t> – AT&amp;T created first online-only platform for business.  Slogan was “you can think of our electronic meeting place as the cloud”</a:t>
            </a:r>
          </a:p>
        </p:txBody>
      </p:sp>
      <p:sp>
        <p:nvSpPr>
          <p:cNvPr id="34" name="TextBox 33"/>
          <p:cNvSpPr txBox="1"/>
          <p:nvPr/>
        </p:nvSpPr>
        <p:spPr>
          <a:xfrm>
            <a:off x="8456124" y="2012310"/>
            <a:ext cx="3335606" cy="1680460"/>
          </a:xfrm>
          <a:prstGeom prst="rect">
            <a:avLst/>
          </a:prstGeom>
          <a:noFill/>
        </p:spPr>
        <p:txBody>
          <a:bodyPr wrap="square" lIns="182880" tIns="146304" rIns="182880" bIns="146304" rtlCol="0">
            <a:spAutoFit/>
          </a:bodyPr>
          <a:lstStyle/>
          <a:p>
            <a:pPr>
              <a:lnSpc>
                <a:spcPct val="90000"/>
              </a:lnSpc>
              <a:spcAft>
                <a:spcPts val="600"/>
              </a:spcAft>
            </a:pPr>
            <a:r>
              <a:rPr lang="en-US" sz="2000" b="1" dirty="0">
                <a:solidFill>
                  <a:schemeClr val="tx2"/>
                </a:solidFill>
                <a:latin typeface="+mj-lt"/>
              </a:rPr>
              <a:t>Today</a:t>
            </a:r>
            <a:r>
              <a:rPr lang="en-US" sz="2000" dirty="0">
                <a:gradFill>
                  <a:gsLst>
                    <a:gs pos="2917">
                      <a:schemeClr val="tx1"/>
                    </a:gs>
                    <a:gs pos="30000">
                      <a:schemeClr val="tx1"/>
                    </a:gs>
                  </a:gsLst>
                  <a:lin ang="5400000" scaled="0"/>
                </a:gradFill>
                <a:latin typeface="+mj-lt"/>
              </a:rPr>
              <a:t> – The cloud has evolved encompass much more than storage, and </a:t>
            </a:r>
            <a:r>
              <a:rPr lang="en-US" sz="2000" dirty="0">
                <a:solidFill>
                  <a:schemeClr val="tx2"/>
                </a:solidFill>
                <a:latin typeface="+mj-lt"/>
              </a:rPr>
              <a:t>cybersecurity is more important than ever.</a:t>
            </a:r>
          </a:p>
        </p:txBody>
      </p:sp>
      <p:cxnSp>
        <p:nvCxnSpPr>
          <p:cNvPr id="35" name="Straight Connector 34"/>
          <p:cNvCxnSpPr/>
          <p:nvPr/>
        </p:nvCxnSpPr>
        <p:spPr>
          <a:xfrm>
            <a:off x="8172333" y="2368046"/>
            <a:ext cx="0" cy="3749040"/>
          </a:xfrm>
          <a:prstGeom prst="line">
            <a:avLst/>
          </a:prstGeom>
          <a:ln>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Right Arrow 40"/>
          <p:cNvSpPr/>
          <p:nvPr/>
        </p:nvSpPr>
        <p:spPr bwMode="auto">
          <a:xfrm>
            <a:off x="388450" y="1634601"/>
            <a:ext cx="11216254" cy="4572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470" name="Picture 14" descr="http://www.guidebookgallery.org/pics/tutorials/magiccap/64.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85972" y="4042021"/>
            <a:ext cx="2996828" cy="1997886"/>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p:cNvSpPr txBox="1"/>
          <p:nvPr/>
        </p:nvSpPr>
        <p:spPr>
          <a:xfrm>
            <a:off x="8588591" y="3891029"/>
            <a:ext cx="3267790" cy="1634294"/>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latin typeface="+mj-lt"/>
              </a:rPr>
              <a:t>Microsoft Azure</a:t>
            </a:r>
          </a:p>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latin typeface="+mj-lt"/>
              </a:rPr>
              <a:t>Dropbox</a:t>
            </a:r>
          </a:p>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latin typeface="+mj-lt"/>
              </a:rPr>
              <a:t>Pinterest</a:t>
            </a:r>
          </a:p>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latin typeface="+mj-lt"/>
              </a:rPr>
              <a:t>Amazon Web Services</a:t>
            </a:r>
          </a:p>
        </p:txBody>
      </p:sp>
    </p:spTree>
    <p:extLst>
      <p:ext uri="{BB962C8B-B14F-4D97-AF65-F5344CB8AC3E}">
        <p14:creationId xmlns:p14="http://schemas.microsoft.com/office/powerpoint/2010/main" val="198454907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Today’s Cloud </a:t>
            </a:r>
            <a:r>
              <a:rPr lang="en-US" sz="4800"/>
              <a:t>addresses cybersecurity</a:t>
            </a:r>
            <a:endParaRPr lang="en-US" sz="4800" dirty="0"/>
          </a:p>
        </p:txBody>
      </p:sp>
      <p:sp>
        <p:nvSpPr>
          <p:cNvPr id="3" name="TextBox 2"/>
          <p:cNvSpPr txBox="1"/>
          <p:nvPr/>
        </p:nvSpPr>
        <p:spPr>
          <a:xfrm>
            <a:off x="269240" y="1005872"/>
            <a:ext cx="11070771"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The app you build in the cloud has built-in security</a:t>
            </a:r>
          </a:p>
        </p:txBody>
      </p:sp>
      <p:sp>
        <p:nvSpPr>
          <p:cNvPr id="4" name="Freeform 47"/>
          <p:cNvSpPr>
            <a:spLocks/>
          </p:cNvSpPr>
          <p:nvPr/>
        </p:nvSpPr>
        <p:spPr bwMode="auto">
          <a:xfrm>
            <a:off x="7368681" y="1885010"/>
            <a:ext cx="2902399" cy="1774371"/>
          </a:xfrm>
          <a:custGeom>
            <a:avLst/>
            <a:gdLst>
              <a:gd name="T0" fmla="*/ 48 w 298"/>
              <a:gd name="T1" fmla="*/ 85 h 194"/>
              <a:gd name="T2" fmla="*/ 48 w 298"/>
              <a:gd name="T3" fmla="*/ 81 h 194"/>
              <a:gd name="T4" fmla="*/ 130 w 298"/>
              <a:gd name="T5" fmla="*/ 0 h 194"/>
              <a:gd name="T6" fmla="*/ 198 w 298"/>
              <a:gd name="T7" fmla="*/ 36 h 194"/>
              <a:gd name="T8" fmla="*/ 220 w 298"/>
              <a:gd name="T9" fmla="*/ 30 h 194"/>
              <a:gd name="T10" fmla="*/ 247 w 298"/>
              <a:gd name="T11" fmla="*/ 38 h 194"/>
              <a:gd name="T12" fmla="*/ 268 w 298"/>
              <a:gd name="T13" fmla="*/ 76 h 194"/>
              <a:gd name="T14" fmla="*/ 298 w 298"/>
              <a:gd name="T15" fmla="*/ 130 h 194"/>
              <a:gd name="T16" fmla="*/ 240 w 298"/>
              <a:gd name="T17" fmla="*/ 194 h 194"/>
              <a:gd name="T18" fmla="*/ 233 w 298"/>
              <a:gd name="T19" fmla="*/ 194 h 194"/>
              <a:gd name="T20" fmla="*/ 226 w 298"/>
              <a:gd name="T21" fmla="*/ 194 h 194"/>
              <a:gd name="T22" fmla="*/ 92 w 298"/>
              <a:gd name="T23" fmla="*/ 194 h 194"/>
              <a:gd name="T24" fmla="*/ 90 w 298"/>
              <a:gd name="T25" fmla="*/ 194 h 194"/>
              <a:gd name="T26" fmla="*/ 86 w 298"/>
              <a:gd name="T27" fmla="*/ 194 h 194"/>
              <a:gd name="T28" fmla="*/ 77 w 298"/>
              <a:gd name="T29" fmla="*/ 194 h 194"/>
              <a:gd name="T30" fmla="*/ 55 w 298"/>
              <a:gd name="T31" fmla="*/ 194 h 194"/>
              <a:gd name="T32" fmla="*/ 0 w 298"/>
              <a:gd name="T33" fmla="*/ 139 h 194"/>
              <a:gd name="T34" fmla="*/ 48 w 298"/>
              <a:gd name="T35" fmla="*/ 8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8" h="194">
                <a:moveTo>
                  <a:pt x="48" y="85"/>
                </a:moveTo>
                <a:cubicBezTo>
                  <a:pt x="48" y="84"/>
                  <a:pt x="48" y="82"/>
                  <a:pt x="48" y="81"/>
                </a:cubicBezTo>
                <a:cubicBezTo>
                  <a:pt x="48" y="36"/>
                  <a:pt x="84" y="0"/>
                  <a:pt x="130" y="0"/>
                </a:cubicBezTo>
                <a:cubicBezTo>
                  <a:pt x="158" y="0"/>
                  <a:pt x="183" y="14"/>
                  <a:pt x="198" y="36"/>
                </a:cubicBezTo>
                <a:cubicBezTo>
                  <a:pt x="205" y="32"/>
                  <a:pt x="212" y="30"/>
                  <a:pt x="220" y="30"/>
                </a:cubicBezTo>
                <a:cubicBezTo>
                  <a:pt x="230" y="30"/>
                  <a:pt x="239" y="33"/>
                  <a:pt x="247" y="38"/>
                </a:cubicBezTo>
                <a:cubicBezTo>
                  <a:pt x="259" y="46"/>
                  <a:pt x="268" y="60"/>
                  <a:pt x="268" y="76"/>
                </a:cubicBezTo>
                <a:cubicBezTo>
                  <a:pt x="286" y="88"/>
                  <a:pt x="298" y="108"/>
                  <a:pt x="298" y="130"/>
                </a:cubicBezTo>
                <a:cubicBezTo>
                  <a:pt x="298" y="163"/>
                  <a:pt x="272" y="191"/>
                  <a:pt x="240" y="194"/>
                </a:cubicBezTo>
                <a:cubicBezTo>
                  <a:pt x="238" y="194"/>
                  <a:pt x="235" y="194"/>
                  <a:pt x="233" y="194"/>
                </a:cubicBezTo>
                <a:cubicBezTo>
                  <a:pt x="231" y="194"/>
                  <a:pt x="229" y="194"/>
                  <a:pt x="226" y="194"/>
                </a:cubicBezTo>
                <a:cubicBezTo>
                  <a:pt x="196" y="194"/>
                  <a:pt x="126" y="194"/>
                  <a:pt x="92" y="194"/>
                </a:cubicBezTo>
                <a:cubicBezTo>
                  <a:pt x="91" y="194"/>
                  <a:pt x="91" y="194"/>
                  <a:pt x="90" y="194"/>
                </a:cubicBezTo>
                <a:cubicBezTo>
                  <a:pt x="86" y="194"/>
                  <a:pt x="86" y="194"/>
                  <a:pt x="86" y="194"/>
                </a:cubicBezTo>
                <a:cubicBezTo>
                  <a:pt x="85" y="194"/>
                  <a:pt x="80" y="194"/>
                  <a:pt x="77" y="194"/>
                </a:cubicBezTo>
                <a:cubicBezTo>
                  <a:pt x="55" y="194"/>
                  <a:pt x="55" y="194"/>
                  <a:pt x="55" y="194"/>
                </a:cubicBezTo>
                <a:cubicBezTo>
                  <a:pt x="25" y="194"/>
                  <a:pt x="0" y="169"/>
                  <a:pt x="0" y="139"/>
                </a:cubicBezTo>
                <a:cubicBezTo>
                  <a:pt x="0" y="112"/>
                  <a:pt x="21" y="89"/>
                  <a:pt x="48" y="85"/>
                </a:cubicBezTo>
                <a:close/>
              </a:path>
            </a:pathLst>
          </a:custGeom>
          <a:solidFill>
            <a:schemeClr val="bg1"/>
          </a:solidFill>
          <a:ln w="38100">
            <a:solidFill>
              <a:schemeClr val="tx2"/>
            </a:solidFill>
          </a:ln>
          <a:effectLst>
            <a:outerShdw blurRad="1270000" sx="102000" sy="102000" algn="ctr" rotWithShape="0">
              <a:schemeClr val="bg1"/>
            </a:outerShdw>
          </a:effectLs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pic>
        <p:nvPicPr>
          <p:cNvPr id="9" name="Picture 1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87959" y="5152905"/>
            <a:ext cx="5235405" cy="17540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5" name="Group 48"/>
          <p:cNvGrpSpPr>
            <a:grpSpLocks noChangeAspect="1"/>
          </p:cNvGrpSpPr>
          <p:nvPr/>
        </p:nvGrpSpPr>
        <p:grpSpPr bwMode="auto">
          <a:xfrm>
            <a:off x="8140223" y="2564018"/>
            <a:ext cx="787107" cy="534810"/>
            <a:chOff x="2560" y="1381"/>
            <a:chExt cx="3126" cy="2124"/>
          </a:xfrm>
          <a:solidFill>
            <a:schemeClr val="tx2"/>
          </a:solidFill>
        </p:grpSpPr>
        <p:sp>
          <p:nvSpPr>
            <p:cNvPr id="6" name="Freeform 49"/>
            <p:cNvSpPr>
              <a:spLocks noEditPoints="1"/>
            </p:cNvSpPr>
            <p:nvPr/>
          </p:nvSpPr>
          <p:spPr bwMode="auto">
            <a:xfrm>
              <a:off x="3646" y="1381"/>
              <a:ext cx="966" cy="2124"/>
            </a:xfrm>
            <a:custGeom>
              <a:avLst/>
              <a:gdLst>
                <a:gd name="T0" fmla="*/ 964 w 966"/>
                <a:gd name="T1" fmla="*/ 244 h 2124"/>
                <a:gd name="T2" fmla="*/ 964 w 966"/>
                <a:gd name="T3" fmla="*/ 18 h 2124"/>
                <a:gd name="T4" fmla="*/ 100 w 966"/>
                <a:gd name="T5" fmla="*/ 0 h 2124"/>
                <a:gd name="T6" fmla="*/ 0 w 966"/>
                <a:gd name="T7" fmla="*/ 244 h 2124"/>
                <a:gd name="T8" fmla="*/ 0 w 966"/>
                <a:gd name="T9" fmla="*/ 2106 h 2124"/>
                <a:gd name="T10" fmla="*/ 864 w 966"/>
                <a:gd name="T11" fmla="*/ 2124 h 2124"/>
                <a:gd name="T12" fmla="*/ 966 w 966"/>
                <a:gd name="T13" fmla="*/ 2124 h 2124"/>
                <a:gd name="T14" fmla="*/ 966 w 966"/>
                <a:gd name="T15" fmla="*/ 2014 h 2124"/>
                <a:gd name="T16" fmla="*/ 966 w 966"/>
                <a:gd name="T17" fmla="*/ 1880 h 2124"/>
                <a:gd name="T18" fmla="*/ 964 w 966"/>
                <a:gd name="T19" fmla="*/ 1880 h 2124"/>
                <a:gd name="T20" fmla="*/ 964 w 966"/>
                <a:gd name="T21" fmla="*/ 244 h 2124"/>
                <a:gd name="T22" fmla="*/ 190 w 966"/>
                <a:gd name="T23" fmla="*/ 998 h 2124"/>
                <a:gd name="T24" fmla="*/ 198 w 966"/>
                <a:gd name="T25" fmla="*/ 978 h 2124"/>
                <a:gd name="T26" fmla="*/ 218 w 966"/>
                <a:gd name="T27" fmla="*/ 968 h 2124"/>
                <a:gd name="T28" fmla="*/ 748 w 966"/>
                <a:gd name="T29" fmla="*/ 968 h 2124"/>
                <a:gd name="T30" fmla="*/ 768 w 966"/>
                <a:gd name="T31" fmla="*/ 978 h 2124"/>
                <a:gd name="T32" fmla="*/ 776 w 966"/>
                <a:gd name="T33" fmla="*/ 998 h 2124"/>
                <a:gd name="T34" fmla="*/ 776 w 966"/>
                <a:gd name="T35" fmla="*/ 1058 h 2124"/>
                <a:gd name="T36" fmla="*/ 768 w 966"/>
                <a:gd name="T37" fmla="*/ 1078 h 2124"/>
                <a:gd name="T38" fmla="*/ 748 w 966"/>
                <a:gd name="T39" fmla="*/ 1086 h 2124"/>
                <a:gd name="T40" fmla="*/ 218 w 966"/>
                <a:gd name="T41" fmla="*/ 1086 h 2124"/>
                <a:gd name="T42" fmla="*/ 198 w 966"/>
                <a:gd name="T43" fmla="*/ 1078 h 2124"/>
                <a:gd name="T44" fmla="*/ 190 w 966"/>
                <a:gd name="T45" fmla="*/ 1058 h 2124"/>
                <a:gd name="T46" fmla="*/ 782 w 966"/>
                <a:gd name="T47" fmla="*/ 1374 h 2124"/>
                <a:gd name="T48" fmla="*/ 780 w 966"/>
                <a:gd name="T49" fmla="*/ 1384 h 2124"/>
                <a:gd name="T50" fmla="*/ 766 w 966"/>
                <a:gd name="T51" fmla="*/ 1400 h 2124"/>
                <a:gd name="T52" fmla="*/ 224 w 966"/>
                <a:gd name="T53" fmla="*/ 1402 h 2124"/>
                <a:gd name="T54" fmla="*/ 214 w 966"/>
                <a:gd name="T55" fmla="*/ 1400 h 2124"/>
                <a:gd name="T56" fmla="*/ 198 w 966"/>
                <a:gd name="T57" fmla="*/ 1384 h 2124"/>
                <a:gd name="T58" fmla="*/ 196 w 966"/>
                <a:gd name="T59" fmla="*/ 1312 h 2124"/>
                <a:gd name="T60" fmla="*/ 198 w 966"/>
                <a:gd name="T61" fmla="*/ 1302 h 2124"/>
                <a:gd name="T62" fmla="*/ 214 w 966"/>
                <a:gd name="T63" fmla="*/ 1286 h 2124"/>
                <a:gd name="T64" fmla="*/ 754 w 966"/>
                <a:gd name="T65" fmla="*/ 1284 h 2124"/>
                <a:gd name="T66" fmla="*/ 766 w 966"/>
                <a:gd name="T67" fmla="*/ 1286 h 2124"/>
                <a:gd name="T68" fmla="*/ 780 w 966"/>
                <a:gd name="T69" fmla="*/ 1302 h 2124"/>
                <a:gd name="T70" fmla="*/ 782 w 966"/>
                <a:gd name="T71" fmla="*/ 1374 h 2124"/>
                <a:gd name="T72" fmla="*/ 782 w 966"/>
                <a:gd name="T73" fmla="*/ 744 h 2124"/>
                <a:gd name="T74" fmla="*/ 774 w 966"/>
                <a:gd name="T75" fmla="*/ 764 h 2124"/>
                <a:gd name="T76" fmla="*/ 754 w 966"/>
                <a:gd name="T77" fmla="*/ 774 h 2124"/>
                <a:gd name="T78" fmla="*/ 224 w 966"/>
                <a:gd name="T79" fmla="*/ 774 h 2124"/>
                <a:gd name="T80" fmla="*/ 204 w 966"/>
                <a:gd name="T81" fmla="*/ 764 h 2124"/>
                <a:gd name="T82" fmla="*/ 196 w 966"/>
                <a:gd name="T83" fmla="*/ 744 h 2124"/>
                <a:gd name="T84" fmla="*/ 196 w 966"/>
                <a:gd name="T85" fmla="*/ 684 h 2124"/>
                <a:gd name="T86" fmla="*/ 204 w 966"/>
                <a:gd name="T87" fmla="*/ 664 h 2124"/>
                <a:gd name="T88" fmla="*/ 224 w 966"/>
                <a:gd name="T89" fmla="*/ 656 h 2124"/>
                <a:gd name="T90" fmla="*/ 754 w 966"/>
                <a:gd name="T91" fmla="*/ 656 h 2124"/>
                <a:gd name="T92" fmla="*/ 774 w 966"/>
                <a:gd name="T93" fmla="*/ 664 h 2124"/>
                <a:gd name="T94" fmla="*/ 782 w 966"/>
                <a:gd name="T95" fmla="*/ 684 h 2124"/>
                <a:gd name="T96" fmla="*/ 782 w 966"/>
                <a:gd name="T97" fmla="*/ 444 h 2124"/>
                <a:gd name="T98" fmla="*/ 780 w 966"/>
                <a:gd name="T99" fmla="*/ 454 h 2124"/>
                <a:gd name="T100" fmla="*/ 766 w 966"/>
                <a:gd name="T101" fmla="*/ 470 h 2124"/>
                <a:gd name="T102" fmla="*/ 224 w 966"/>
                <a:gd name="T103" fmla="*/ 472 h 2124"/>
                <a:gd name="T104" fmla="*/ 214 w 966"/>
                <a:gd name="T105" fmla="*/ 470 h 2124"/>
                <a:gd name="T106" fmla="*/ 198 w 966"/>
                <a:gd name="T107" fmla="*/ 454 h 2124"/>
                <a:gd name="T108" fmla="*/ 196 w 966"/>
                <a:gd name="T109" fmla="*/ 384 h 2124"/>
                <a:gd name="T110" fmla="*/ 198 w 966"/>
                <a:gd name="T111" fmla="*/ 372 h 2124"/>
                <a:gd name="T112" fmla="*/ 214 w 966"/>
                <a:gd name="T113" fmla="*/ 356 h 2124"/>
                <a:gd name="T114" fmla="*/ 754 w 966"/>
                <a:gd name="T115" fmla="*/ 354 h 2124"/>
                <a:gd name="T116" fmla="*/ 766 w 966"/>
                <a:gd name="T117" fmla="*/ 356 h 2124"/>
                <a:gd name="T118" fmla="*/ 780 w 966"/>
                <a:gd name="T119" fmla="*/ 372 h 2124"/>
                <a:gd name="T120" fmla="*/ 782 w 966"/>
                <a:gd name="T121" fmla="*/ 444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66" h="2124">
                  <a:moveTo>
                    <a:pt x="964" y="244"/>
                  </a:moveTo>
                  <a:lnTo>
                    <a:pt x="964" y="244"/>
                  </a:lnTo>
                  <a:lnTo>
                    <a:pt x="964" y="220"/>
                  </a:lnTo>
                  <a:lnTo>
                    <a:pt x="964" y="18"/>
                  </a:lnTo>
                  <a:lnTo>
                    <a:pt x="964" y="0"/>
                  </a:lnTo>
                  <a:lnTo>
                    <a:pt x="100" y="0"/>
                  </a:lnTo>
                  <a:lnTo>
                    <a:pt x="0" y="0"/>
                  </a:lnTo>
                  <a:lnTo>
                    <a:pt x="0" y="244"/>
                  </a:lnTo>
                  <a:lnTo>
                    <a:pt x="0" y="2106"/>
                  </a:lnTo>
                  <a:lnTo>
                    <a:pt x="0" y="2106"/>
                  </a:lnTo>
                  <a:lnTo>
                    <a:pt x="0" y="2124"/>
                  </a:lnTo>
                  <a:lnTo>
                    <a:pt x="864" y="2124"/>
                  </a:lnTo>
                  <a:lnTo>
                    <a:pt x="964" y="2124"/>
                  </a:lnTo>
                  <a:lnTo>
                    <a:pt x="966" y="2124"/>
                  </a:lnTo>
                  <a:lnTo>
                    <a:pt x="966" y="2014"/>
                  </a:lnTo>
                  <a:lnTo>
                    <a:pt x="966" y="2014"/>
                  </a:lnTo>
                  <a:lnTo>
                    <a:pt x="966" y="2006"/>
                  </a:lnTo>
                  <a:lnTo>
                    <a:pt x="966" y="1880"/>
                  </a:lnTo>
                  <a:lnTo>
                    <a:pt x="964" y="1880"/>
                  </a:lnTo>
                  <a:lnTo>
                    <a:pt x="964" y="1880"/>
                  </a:lnTo>
                  <a:lnTo>
                    <a:pt x="964" y="244"/>
                  </a:lnTo>
                  <a:lnTo>
                    <a:pt x="964" y="244"/>
                  </a:lnTo>
                  <a:close/>
                  <a:moveTo>
                    <a:pt x="190" y="998"/>
                  </a:moveTo>
                  <a:lnTo>
                    <a:pt x="190" y="998"/>
                  </a:lnTo>
                  <a:lnTo>
                    <a:pt x="192" y="986"/>
                  </a:lnTo>
                  <a:lnTo>
                    <a:pt x="198" y="978"/>
                  </a:lnTo>
                  <a:lnTo>
                    <a:pt x="208" y="972"/>
                  </a:lnTo>
                  <a:lnTo>
                    <a:pt x="218" y="968"/>
                  </a:lnTo>
                  <a:lnTo>
                    <a:pt x="748" y="968"/>
                  </a:lnTo>
                  <a:lnTo>
                    <a:pt x="748" y="968"/>
                  </a:lnTo>
                  <a:lnTo>
                    <a:pt x="760" y="972"/>
                  </a:lnTo>
                  <a:lnTo>
                    <a:pt x="768" y="978"/>
                  </a:lnTo>
                  <a:lnTo>
                    <a:pt x="774" y="986"/>
                  </a:lnTo>
                  <a:lnTo>
                    <a:pt x="776" y="998"/>
                  </a:lnTo>
                  <a:lnTo>
                    <a:pt x="776" y="1058"/>
                  </a:lnTo>
                  <a:lnTo>
                    <a:pt x="776" y="1058"/>
                  </a:lnTo>
                  <a:lnTo>
                    <a:pt x="774" y="1068"/>
                  </a:lnTo>
                  <a:lnTo>
                    <a:pt x="768" y="1078"/>
                  </a:lnTo>
                  <a:lnTo>
                    <a:pt x="760" y="1084"/>
                  </a:lnTo>
                  <a:lnTo>
                    <a:pt x="748" y="1086"/>
                  </a:lnTo>
                  <a:lnTo>
                    <a:pt x="218" y="1086"/>
                  </a:lnTo>
                  <a:lnTo>
                    <a:pt x="218" y="1086"/>
                  </a:lnTo>
                  <a:lnTo>
                    <a:pt x="208" y="1084"/>
                  </a:lnTo>
                  <a:lnTo>
                    <a:pt x="198" y="1078"/>
                  </a:lnTo>
                  <a:lnTo>
                    <a:pt x="192" y="1068"/>
                  </a:lnTo>
                  <a:lnTo>
                    <a:pt x="190" y="1058"/>
                  </a:lnTo>
                  <a:lnTo>
                    <a:pt x="190" y="998"/>
                  </a:lnTo>
                  <a:close/>
                  <a:moveTo>
                    <a:pt x="782" y="1374"/>
                  </a:moveTo>
                  <a:lnTo>
                    <a:pt x="782" y="1374"/>
                  </a:lnTo>
                  <a:lnTo>
                    <a:pt x="780" y="1384"/>
                  </a:lnTo>
                  <a:lnTo>
                    <a:pt x="774" y="1394"/>
                  </a:lnTo>
                  <a:lnTo>
                    <a:pt x="766" y="1400"/>
                  </a:lnTo>
                  <a:lnTo>
                    <a:pt x="754" y="1402"/>
                  </a:lnTo>
                  <a:lnTo>
                    <a:pt x="224" y="1402"/>
                  </a:lnTo>
                  <a:lnTo>
                    <a:pt x="224" y="1402"/>
                  </a:lnTo>
                  <a:lnTo>
                    <a:pt x="214" y="1400"/>
                  </a:lnTo>
                  <a:lnTo>
                    <a:pt x="204" y="1394"/>
                  </a:lnTo>
                  <a:lnTo>
                    <a:pt x="198" y="1384"/>
                  </a:lnTo>
                  <a:lnTo>
                    <a:pt x="196" y="1374"/>
                  </a:lnTo>
                  <a:lnTo>
                    <a:pt x="196" y="1312"/>
                  </a:lnTo>
                  <a:lnTo>
                    <a:pt x="196" y="1312"/>
                  </a:lnTo>
                  <a:lnTo>
                    <a:pt x="198" y="1302"/>
                  </a:lnTo>
                  <a:lnTo>
                    <a:pt x="204" y="1292"/>
                  </a:lnTo>
                  <a:lnTo>
                    <a:pt x="214" y="1286"/>
                  </a:lnTo>
                  <a:lnTo>
                    <a:pt x="224" y="1284"/>
                  </a:lnTo>
                  <a:lnTo>
                    <a:pt x="754" y="1284"/>
                  </a:lnTo>
                  <a:lnTo>
                    <a:pt x="754" y="1284"/>
                  </a:lnTo>
                  <a:lnTo>
                    <a:pt x="766" y="1286"/>
                  </a:lnTo>
                  <a:lnTo>
                    <a:pt x="774" y="1292"/>
                  </a:lnTo>
                  <a:lnTo>
                    <a:pt x="780" y="1302"/>
                  </a:lnTo>
                  <a:lnTo>
                    <a:pt x="782" y="1312"/>
                  </a:lnTo>
                  <a:lnTo>
                    <a:pt x="782" y="1374"/>
                  </a:lnTo>
                  <a:close/>
                  <a:moveTo>
                    <a:pt x="782" y="744"/>
                  </a:moveTo>
                  <a:lnTo>
                    <a:pt x="782" y="744"/>
                  </a:lnTo>
                  <a:lnTo>
                    <a:pt x="780" y="756"/>
                  </a:lnTo>
                  <a:lnTo>
                    <a:pt x="774" y="764"/>
                  </a:lnTo>
                  <a:lnTo>
                    <a:pt x="766" y="772"/>
                  </a:lnTo>
                  <a:lnTo>
                    <a:pt x="754" y="774"/>
                  </a:lnTo>
                  <a:lnTo>
                    <a:pt x="224" y="774"/>
                  </a:lnTo>
                  <a:lnTo>
                    <a:pt x="224" y="774"/>
                  </a:lnTo>
                  <a:lnTo>
                    <a:pt x="214" y="772"/>
                  </a:lnTo>
                  <a:lnTo>
                    <a:pt x="204" y="764"/>
                  </a:lnTo>
                  <a:lnTo>
                    <a:pt x="198" y="756"/>
                  </a:lnTo>
                  <a:lnTo>
                    <a:pt x="196" y="744"/>
                  </a:lnTo>
                  <a:lnTo>
                    <a:pt x="196" y="684"/>
                  </a:lnTo>
                  <a:lnTo>
                    <a:pt x="196" y="684"/>
                  </a:lnTo>
                  <a:lnTo>
                    <a:pt x="198" y="674"/>
                  </a:lnTo>
                  <a:lnTo>
                    <a:pt x="204" y="664"/>
                  </a:lnTo>
                  <a:lnTo>
                    <a:pt x="214" y="658"/>
                  </a:lnTo>
                  <a:lnTo>
                    <a:pt x="224" y="656"/>
                  </a:lnTo>
                  <a:lnTo>
                    <a:pt x="754" y="656"/>
                  </a:lnTo>
                  <a:lnTo>
                    <a:pt x="754" y="656"/>
                  </a:lnTo>
                  <a:lnTo>
                    <a:pt x="766" y="658"/>
                  </a:lnTo>
                  <a:lnTo>
                    <a:pt x="774" y="664"/>
                  </a:lnTo>
                  <a:lnTo>
                    <a:pt x="780" y="674"/>
                  </a:lnTo>
                  <a:lnTo>
                    <a:pt x="782" y="684"/>
                  </a:lnTo>
                  <a:lnTo>
                    <a:pt x="782" y="744"/>
                  </a:lnTo>
                  <a:close/>
                  <a:moveTo>
                    <a:pt x="782" y="444"/>
                  </a:moveTo>
                  <a:lnTo>
                    <a:pt x="782" y="444"/>
                  </a:lnTo>
                  <a:lnTo>
                    <a:pt x="780" y="454"/>
                  </a:lnTo>
                  <a:lnTo>
                    <a:pt x="774" y="464"/>
                  </a:lnTo>
                  <a:lnTo>
                    <a:pt x="766" y="470"/>
                  </a:lnTo>
                  <a:lnTo>
                    <a:pt x="754" y="472"/>
                  </a:lnTo>
                  <a:lnTo>
                    <a:pt x="224" y="472"/>
                  </a:lnTo>
                  <a:lnTo>
                    <a:pt x="224" y="472"/>
                  </a:lnTo>
                  <a:lnTo>
                    <a:pt x="214" y="470"/>
                  </a:lnTo>
                  <a:lnTo>
                    <a:pt x="204" y="464"/>
                  </a:lnTo>
                  <a:lnTo>
                    <a:pt x="198" y="454"/>
                  </a:lnTo>
                  <a:lnTo>
                    <a:pt x="196" y="444"/>
                  </a:lnTo>
                  <a:lnTo>
                    <a:pt x="196" y="384"/>
                  </a:lnTo>
                  <a:lnTo>
                    <a:pt x="196" y="384"/>
                  </a:lnTo>
                  <a:lnTo>
                    <a:pt x="198" y="372"/>
                  </a:lnTo>
                  <a:lnTo>
                    <a:pt x="204" y="364"/>
                  </a:lnTo>
                  <a:lnTo>
                    <a:pt x="214" y="356"/>
                  </a:lnTo>
                  <a:lnTo>
                    <a:pt x="224" y="354"/>
                  </a:lnTo>
                  <a:lnTo>
                    <a:pt x="754" y="354"/>
                  </a:lnTo>
                  <a:lnTo>
                    <a:pt x="754" y="354"/>
                  </a:lnTo>
                  <a:lnTo>
                    <a:pt x="766" y="356"/>
                  </a:lnTo>
                  <a:lnTo>
                    <a:pt x="774" y="364"/>
                  </a:lnTo>
                  <a:lnTo>
                    <a:pt x="780" y="372"/>
                  </a:lnTo>
                  <a:lnTo>
                    <a:pt x="782" y="384"/>
                  </a:lnTo>
                  <a:lnTo>
                    <a:pt x="782" y="444"/>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7" name="Freeform 50"/>
            <p:cNvSpPr>
              <a:spLocks noEditPoints="1"/>
            </p:cNvSpPr>
            <p:nvPr/>
          </p:nvSpPr>
          <p:spPr bwMode="auto">
            <a:xfrm>
              <a:off x="4674" y="1381"/>
              <a:ext cx="1012" cy="2124"/>
            </a:xfrm>
            <a:custGeom>
              <a:avLst/>
              <a:gdLst>
                <a:gd name="T0" fmla="*/ 0 w 1012"/>
                <a:gd name="T1" fmla="*/ 2124 h 2124"/>
                <a:gd name="T2" fmla="*/ 4 w 1012"/>
                <a:gd name="T3" fmla="*/ 2124 h 2124"/>
                <a:gd name="T4" fmla="*/ 1010 w 1012"/>
                <a:gd name="T5" fmla="*/ 2048 h 2124"/>
                <a:gd name="T6" fmla="*/ 1012 w 1012"/>
                <a:gd name="T7" fmla="*/ 144 h 2124"/>
                <a:gd name="T8" fmla="*/ 0 w 1012"/>
                <a:gd name="T9" fmla="*/ 0 h 2124"/>
                <a:gd name="T10" fmla="*/ 214 w 1012"/>
                <a:gd name="T11" fmla="*/ 678 h 2124"/>
                <a:gd name="T12" fmla="*/ 222 w 1012"/>
                <a:gd name="T13" fmla="*/ 658 h 2124"/>
                <a:gd name="T14" fmla="*/ 242 w 1012"/>
                <a:gd name="T15" fmla="*/ 650 h 2124"/>
                <a:gd name="T16" fmla="*/ 752 w 1012"/>
                <a:gd name="T17" fmla="*/ 664 h 2124"/>
                <a:gd name="T18" fmla="*/ 772 w 1012"/>
                <a:gd name="T19" fmla="*/ 672 h 2124"/>
                <a:gd name="T20" fmla="*/ 780 w 1012"/>
                <a:gd name="T21" fmla="*/ 692 h 2124"/>
                <a:gd name="T22" fmla="*/ 778 w 1012"/>
                <a:gd name="T23" fmla="*/ 750 h 2124"/>
                <a:gd name="T24" fmla="*/ 770 w 1012"/>
                <a:gd name="T25" fmla="*/ 770 h 2124"/>
                <a:gd name="T26" fmla="*/ 750 w 1012"/>
                <a:gd name="T27" fmla="*/ 778 h 2124"/>
                <a:gd name="T28" fmla="*/ 240 w 1012"/>
                <a:gd name="T29" fmla="*/ 764 h 2124"/>
                <a:gd name="T30" fmla="*/ 220 w 1012"/>
                <a:gd name="T31" fmla="*/ 756 h 2124"/>
                <a:gd name="T32" fmla="*/ 212 w 1012"/>
                <a:gd name="T33" fmla="*/ 736 h 2124"/>
                <a:gd name="T34" fmla="*/ 750 w 1012"/>
                <a:gd name="T35" fmla="*/ 1368 h 2124"/>
                <a:gd name="T36" fmla="*/ 240 w 1012"/>
                <a:gd name="T37" fmla="*/ 1386 h 2124"/>
                <a:gd name="T38" fmla="*/ 220 w 1012"/>
                <a:gd name="T39" fmla="*/ 1378 h 2124"/>
                <a:gd name="T40" fmla="*/ 212 w 1012"/>
                <a:gd name="T41" fmla="*/ 1358 h 2124"/>
                <a:gd name="T42" fmla="*/ 210 w 1012"/>
                <a:gd name="T43" fmla="*/ 1300 h 2124"/>
                <a:gd name="T44" fmla="*/ 216 w 1012"/>
                <a:gd name="T45" fmla="*/ 1280 h 2124"/>
                <a:gd name="T46" fmla="*/ 236 w 1012"/>
                <a:gd name="T47" fmla="*/ 1272 h 2124"/>
                <a:gd name="T48" fmla="*/ 746 w 1012"/>
                <a:gd name="T49" fmla="*/ 1254 h 2124"/>
                <a:gd name="T50" fmla="*/ 766 w 1012"/>
                <a:gd name="T51" fmla="*/ 1262 h 2124"/>
                <a:gd name="T52" fmla="*/ 774 w 1012"/>
                <a:gd name="T53" fmla="*/ 1280 h 2124"/>
                <a:gd name="T54" fmla="*/ 776 w 1012"/>
                <a:gd name="T55" fmla="*/ 1338 h 2124"/>
                <a:gd name="T56" fmla="*/ 770 w 1012"/>
                <a:gd name="T57" fmla="*/ 1358 h 2124"/>
                <a:gd name="T58" fmla="*/ 750 w 1012"/>
                <a:gd name="T59" fmla="*/ 1368 h 2124"/>
                <a:gd name="T60" fmla="*/ 782 w 1012"/>
                <a:gd name="T61" fmla="*/ 1044 h 2124"/>
                <a:gd name="T62" fmla="*/ 780 w 1012"/>
                <a:gd name="T63" fmla="*/ 1056 h 2124"/>
                <a:gd name="T64" fmla="*/ 764 w 1012"/>
                <a:gd name="T65" fmla="*/ 1070 h 2124"/>
                <a:gd name="T66" fmla="*/ 244 w 1012"/>
                <a:gd name="T67" fmla="*/ 1072 h 2124"/>
                <a:gd name="T68" fmla="*/ 232 w 1012"/>
                <a:gd name="T69" fmla="*/ 1070 h 2124"/>
                <a:gd name="T70" fmla="*/ 218 w 1012"/>
                <a:gd name="T71" fmla="*/ 1056 h 2124"/>
                <a:gd name="T72" fmla="*/ 216 w 1012"/>
                <a:gd name="T73" fmla="*/ 986 h 2124"/>
                <a:gd name="T74" fmla="*/ 218 w 1012"/>
                <a:gd name="T75" fmla="*/ 976 h 2124"/>
                <a:gd name="T76" fmla="*/ 232 w 1012"/>
                <a:gd name="T77" fmla="*/ 962 h 2124"/>
                <a:gd name="T78" fmla="*/ 754 w 1012"/>
                <a:gd name="T79" fmla="*/ 960 h 2124"/>
                <a:gd name="T80" fmla="*/ 764 w 1012"/>
                <a:gd name="T81" fmla="*/ 962 h 2124"/>
                <a:gd name="T82" fmla="*/ 780 w 1012"/>
                <a:gd name="T83" fmla="*/ 976 h 2124"/>
                <a:gd name="T84" fmla="*/ 782 w 1012"/>
                <a:gd name="T85" fmla="*/ 1044 h 2124"/>
                <a:gd name="T86" fmla="*/ 778 w 1012"/>
                <a:gd name="T87" fmla="*/ 472 h 2124"/>
                <a:gd name="T88" fmla="*/ 770 w 1012"/>
                <a:gd name="T89" fmla="*/ 492 h 2124"/>
                <a:gd name="T90" fmla="*/ 750 w 1012"/>
                <a:gd name="T91" fmla="*/ 498 h 2124"/>
                <a:gd name="T92" fmla="*/ 240 w 1012"/>
                <a:gd name="T93" fmla="*/ 462 h 2124"/>
                <a:gd name="T94" fmla="*/ 222 w 1012"/>
                <a:gd name="T95" fmla="*/ 452 h 2124"/>
                <a:gd name="T96" fmla="*/ 214 w 1012"/>
                <a:gd name="T97" fmla="*/ 432 h 2124"/>
                <a:gd name="T98" fmla="*/ 218 w 1012"/>
                <a:gd name="T99" fmla="*/ 374 h 2124"/>
                <a:gd name="T100" fmla="*/ 228 w 1012"/>
                <a:gd name="T101" fmla="*/ 356 h 2124"/>
                <a:gd name="T102" fmla="*/ 248 w 1012"/>
                <a:gd name="T103" fmla="*/ 350 h 2124"/>
                <a:gd name="T104" fmla="*/ 758 w 1012"/>
                <a:gd name="T105" fmla="*/ 386 h 2124"/>
                <a:gd name="T106" fmla="*/ 776 w 1012"/>
                <a:gd name="T107" fmla="*/ 394 h 2124"/>
                <a:gd name="T108" fmla="*/ 782 w 1012"/>
                <a:gd name="T109" fmla="*/ 414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12" h="2124">
                  <a:moveTo>
                    <a:pt x="0" y="0"/>
                  </a:moveTo>
                  <a:lnTo>
                    <a:pt x="0" y="2124"/>
                  </a:lnTo>
                  <a:lnTo>
                    <a:pt x="4" y="2122"/>
                  </a:lnTo>
                  <a:lnTo>
                    <a:pt x="4" y="2124"/>
                  </a:lnTo>
                  <a:lnTo>
                    <a:pt x="1012" y="2056"/>
                  </a:lnTo>
                  <a:lnTo>
                    <a:pt x="1010" y="2048"/>
                  </a:lnTo>
                  <a:lnTo>
                    <a:pt x="1012" y="2048"/>
                  </a:lnTo>
                  <a:lnTo>
                    <a:pt x="1012" y="144"/>
                  </a:lnTo>
                  <a:lnTo>
                    <a:pt x="1012" y="110"/>
                  </a:lnTo>
                  <a:lnTo>
                    <a:pt x="0" y="0"/>
                  </a:lnTo>
                  <a:close/>
                  <a:moveTo>
                    <a:pt x="214" y="678"/>
                  </a:moveTo>
                  <a:lnTo>
                    <a:pt x="214" y="678"/>
                  </a:lnTo>
                  <a:lnTo>
                    <a:pt x="216" y="666"/>
                  </a:lnTo>
                  <a:lnTo>
                    <a:pt x="222" y="658"/>
                  </a:lnTo>
                  <a:lnTo>
                    <a:pt x="232" y="652"/>
                  </a:lnTo>
                  <a:lnTo>
                    <a:pt x="242" y="650"/>
                  </a:lnTo>
                  <a:lnTo>
                    <a:pt x="752" y="664"/>
                  </a:lnTo>
                  <a:lnTo>
                    <a:pt x="752" y="664"/>
                  </a:lnTo>
                  <a:lnTo>
                    <a:pt x="762" y="666"/>
                  </a:lnTo>
                  <a:lnTo>
                    <a:pt x="772" y="672"/>
                  </a:lnTo>
                  <a:lnTo>
                    <a:pt x="778" y="682"/>
                  </a:lnTo>
                  <a:lnTo>
                    <a:pt x="780" y="692"/>
                  </a:lnTo>
                  <a:lnTo>
                    <a:pt x="778" y="750"/>
                  </a:lnTo>
                  <a:lnTo>
                    <a:pt x="778" y="750"/>
                  </a:lnTo>
                  <a:lnTo>
                    <a:pt x="776" y="760"/>
                  </a:lnTo>
                  <a:lnTo>
                    <a:pt x="770" y="770"/>
                  </a:lnTo>
                  <a:lnTo>
                    <a:pt x="760" y="776"/>
                  </a:lnTo>
                  <a:lnTo>
                    <a:pt x="750" y="778"/>
                  </a:lnTo>
                  <a:lnTo>
                    <a:pt x="240" y="764"/>
                  </a:lnTo>
                  <a:lnTo>
                    <a:pt x="240" y="764"/>
                  </a:lnTo>
                  <a:lnTo>
                    <a:pt x="228" y="762"/>
                  </a:lnTo>
                  <a:lnTo>
                    <a:pt x="220" y="756"/>
                  </a:lnTo>
                  <a:lnTo>
                    <a:pt x="214" y="746"/>
                  </a:lnTo>
                  <a:lnTo>
                    <a:pt x="212" y="736"/>
                  </a:lnTo>
                  <a:lnTo>
                    <a:pt x="214" y="678"/>
                  </a:lnTo>
                  <a:close/>
                  <a:moveTo>
                    <a:pt x="750" y="1368"/>
                  </a:moveTo>
                  <a:lnTo>
                    <a:pt x="240" y="1386"/>
                  </a:lnTo>
                  <a:lnTo>
                    <a:pt x="240" y="1386"/>
                  </a:lnTo>
                  <a:lnTo>
                    <a:pt x="228" y="1384"/>
                  </a:lnTo>
                  <a:lnTo>
                    <a:pt x="220" y="1378"/>
                  </a:lnTo>
                  <a:lnTo>
                    <a:pt x="214" y="1370"/>
                  </a:lnTo>
                  <a:lnTo>
                    <a:pt x="212" y="1358"/>
                  </a:lnTo>
                  <a:lnTo>
                    <a:pt x="210" y="1300"/>
                  </a:lnTo>
                  <a:lnTo>
                    <a:pt x="210" y="1300"/>
                  </a:lnTo>
                  <a:lnTo>
                    <a:pt x="210" y="1290"/>
                  </a:lnTo>
                  <a:lnTo>
                    <a:pt x="216" y="1280"/>
                  </a:lnTo>
                  <a:lnTo>
                    <a:pt x="226" y="1274"/>
                  </a:lnTo>
                  <a:lnTo>
                    <a:pt x="236" y="1272"/>
                  </a:lnTo>
                  <a:lnTo>
                    <a:pt x="746" y="1254"/>
                  </a:lnTo>
                  <a:lnTo>
                    <a:pt x="746" y="1254"/>
                  </a:lnTo>
                  <a:lnTo>
                    <a:pt x="756" y="1256"/>
                  </a:lnTo>
                  <a:lnTo>
                    <a:pt x="766" y="1262"/>
                  </a:lnTo>
                  <a:lnTo>
                    <a:pt x="772" y="1270"/>
                  </a:lnTo>
                  <a:lnTo>
                    <a:pt x="774" y="1280"/>
                  </a:lnTo>
                  <a:lnTo>
                    <a:pt x="776" y="1338"/>
                  </a:lnTo>
                  <a:lnTo>
                    <a:pt x="776" y="1338"/>
                  </a:lnTo>
                  <a:lnTo>
                    <a:pt x="774" y="1350"/>
                  </a:lnTo>
                  <a:lnTo>
                    <a:pt x="770" y="1358"/>
                  </a:lnTo>
                  <a:lnTo>
                    <a:pt x="760" y="1364"/>
                  </a:lnTo>
                  <a:lnTo>
                    <a:pt x="750" y="1368"/>
                  </a:lnTo>
                  <a:lnTo>
                    <a:pt x="750" y="1368"/>
                  </a:lnTo>
                  <a:close/>
                  <a:moveTo>
                    <a:pt x="782" y="1044"/>
                  </a:moveTo>
                  <a:lnTo>
                    <a:pt x="782" y="1044"/>
                  </a:lnTo>
                  <a:lnTo>
                    <a:pt x="780" y="1056"/>
                  </a:lnTo>
                  <a:lnTo>
                    <a:pt x="774" y="1064"/>
                  </a:lnTo>
                  <a:lnTo>
                    <a:pt x="764" y="1070"/>
                  </a:lnTo>
                  <a:lnTo>
                    <a:pt x="754" y="1072"/>
                  </a:lnTo>
                  <a:lnTo>
                    <a:pt x="244" y="1072"/>
                  </a:lnTo>
                  <a:lnTo>
                    <a:pt x="244" y="1072"/>
                  </a:lnTo>
                  <a:lnTo>
                    <a:pt x="232" y="1070"/>
                  </a:lnTo>
                  <a:lnTo>
                    <a:pt x="224" y="1064"/>
                  </a:lnTo>
                  <a:lnTo>
                    <a:pt x="218" y="1056"/>
                  </a:lnTo>
                  <a:lnTo>
                    <a:pt x="216" y="1044"/>
                  </a:lnTo>
                  <a:lnTo>
                    <a:pt x="216" y="986"/>
                  </a:lnTo>
                  <a:lnTo>
                    <a:pt x="216" y="986"/>
                  </a:lnTo>
                  <a:lnTo>
                    <a:pt x="218" y="976"/>
                  </a:lnTo>
                  <a:lnTo>
                    <a:pt x="224" y="968"/>
                  </a:lnTo>
                  <a:lnTo>
                    <a:pt x="232" y="962"/>
                  </a:lnTo>
                  <a:lnTo>
                    <a:pt x="244" y="960"/>
                  </a:lnTo>
                  <a:lnTo>
                    <a:pt x="754" y="960"/>
                  </a:lnTo>
                  <a:lnTo>
                    <a:pt x="754" y="960"/>
                  </a:lnTo>
                  <a:lnTo>
                    <a:pt x="764" y="962"/>
                  </a:lnTo>
                  <a:lnTo>
                    <a:pt x="774" y="968"/>
                  </a:lnTo>
                  <a:lnTo>
                    <a:pt x="780" y="976"/>
                  </a:lnTo>
                  <a:lnTo>
                    <a:pt x="782" y="986"/>
                  </a:lnTo>
                  <a:lnTo>
                    <a:pt x="782" y="1044"/>
                  </a:lnTo>
                  <a:close/>
                  <a:moveTo>
                    <a:pt x="778" y="472"/>
                  </a:moveTo>
                  <a:lnTo>
                    <a:pt x="778" y="472"/>
                  </a:lnTo>
                  <a:lnTo>
                    <a:pt x="776" y="484"/>
                  </a:lnTo>
                  <a:lnTo>
                    <a:pt x="770" y="492"/>
                  </a:lnTo>
                  <a:lnTo>
                    <a:pt x="760" y="496"/>
                  </a:lnTo>
                  <a:lnTo>
                    <a:pt x="750" y="498"/>
                  </a:lnTo>
                  <a:lnTo>
                    <a:pt x="240" y="462"/>
                  </a:lnTo>
                  <a:lnTo>
                    <a:pt x="240" y="462"/>
                  </a:lnTo>
                  <a:lnTo>
                    <a:pt x="230" y="460"/>
                  </a:lnTo>
                  <a:lnTo>
                    <a:pt x="222" y="452"/>
                  </a:lnTo>
                  <a:lnTo>
                    <a:pt x="216" y="444"/>
                  </a:lnTo>
                  <a:lnTo>
                    <a:pt x="214" y="432"/>
                  </a:lnTo>
                  <a:lnTo>
                    <a:pt x="218" y="374"/>
                  </a:lnTo>
                  <a:lnTo>
                    <a:pt x="218" y="374"/>
                  </a:lnTo>
                  <a:lnTo>
                    <a:pt x="222" y="364"/>
                  </a:lnTo>
                  <a:lnTo>
                    <a:pt x="228" y="356"/>
                  </a:lnTo>
                  <a:lnTo>
                    <a:pt x="238" y="350"/>
                  </a:lnTo>
                  <a:lnTo>
                    <a:pt x="248" y="350"/>
                  </a:lnTo>
                  <a:lnTo>
                    <a:pt x="758" y="386"/>
                  </a:lnTo>
                  <a:lnTo>
                    <a:pt x="758" y="386"/>
                  </a:lnTo>
                  <a:lnTo>
                    <a:pt x="768" y="388"/>
                  </a:lnTo>
                  <a:lnTo>
                    <a:pt x="776" y="394"/>
                  </a:lnTo>
                  <a:lnTo>
                    <a:pt x="782" y="404"/>
                  </a:lnTo>
                  <a:lnTo>
                    <a:pt x="782" y="414"/>
                  </a:lnTo>
                  <a:lnTo>
                    <a:pt x="778" y="472"/>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8" name="Freeform 51"/>
            <p:cNvSpPr>
              <a:spLocks noEditPoints="1"/>
            </p:cNvSpPr>
            <p:nvPr/>
          </p:nvSpPr>
          <p:spPr bwMode="auto">
            <a:xfrm>
              <a:off x="2560" y="1381"/>
              <a:ext cx="1012" cy="2124"/>
            </a:xfrm>
            <a:custGeom>
              <a:avLst/>
              <a:gdLst>
                <a:gd name="T0" fmla="*/ 2 w 1012"/>
                <a:gd name="T1" fmla="*/ 2046 h 2124"/>
                <a:gd name="T2" fmla="*/ 2 w 1012"/>
                <a:gd name="T3" fmla="*/ 2056 h 2124"/>
                <a:gd name="T4" fmla="*/ 1010 w 1012"/>
                <a:gd name="T5" fmla="*/ 2122 h 2124"/>
                <a:gd name="T6" fmla="*/ 1012 w 1012"/>
                <a:gd name="T7" fmla="*/ 0 h 2124"/>
                <a:gd name="T8" fmla="*/ 2 w 1012"/>
                <a:gd name="T9" fmla="*/ 144 h 2124"/>
                <a:gd name="T10" fmla="*/ 802 w 1012"/>
                <a:gd name="T11" fmla="*/ 1358 h 2124"/>
                <a:gd name="T12" fmla="*/ 794 w 1012"/>
                <a:gd name="T13" fmla="*/ 1378 h 2124"/>
                <a:gd name="T14" fmla="*/ 774 w 1012"/>
                <a:gd name="T15" fmla="*/ 1386 h 2124"/>
                <a:gd name="T16" fmla="*/ 264 w 1012"/>
                <a:gd name="T17" fmla="*/ 1368 h 2124"/>
                <a:gd name="T18" fmla="*/ 244 w 1012"/>
                <a:gd name="T19" fmla="*/ 1358 h 2124"/>
                <a:gd name="T20" fmla="*/ 236 w 1012"/>
                <a:gd name="T21" fmla="*/ 1338 h 2124"/>
                <a:gd name="T22" fmla="*/ 238 w 1012"/>
                <a:gd name="T23" fmla="*/ 1280 h 2124"/>
                <a:gd name="T24" fmla="*/ 248 w 1012"/>
                <a:gd name="T25" fmla="*/ 1262 h 2124"/>
                <a:gd name="T26" fmla="*/ 268 w 1012"/>
                <a:gd name="T27" fmla="*/ 1254 h 2124"/>
                <a:gd name="T28" fmla="*/ 778 w 1012"/>
                <a:gd name="T29" fmla="*/ 1272 h 2124"/>
                <a:gd name="T30" fmla="*/ 796 w 1012"/>
                <a:gd name="T31" fmla="*/ 1280 h 2124"/>
                <a:gd name="T32" fmla="*/ 804 w 1012"/>
                <a:gd name="T33" fmla="*/ 1300 h 2124"/>
                <a:gd name="T34" fmla="*/ 232 w 1012"/>
                <a:gd name="T35" fmla="*/ 1044 h 2124"/>
                <a:gd name="T36" fmla="*/ 232 w 1012"/>
                <a:gd name="T37" fmla="*/ 986 h 2124"/>
                <a:gd name="T38" fmla="*/ 240 w 1012"/>
                <a:gd name="T39" fmla="*/ 968 h 2124"/>
                <a:gd name="T40" fmla="*/ 260 w 1012"/>
                <a:gd name="T41" fmla="*/ 960 h 2124"/>
                <a:gd name="T42" fmla="*/ 770 w 1012"/>
                <a:gd name="T43" fmla="*/ 960 h 2124"/>
                <a:gd name="T44" fmla="*/ 790 w 1012"/>
                <a:gd name="T45" fmla="*/ 968 h 2124"/>
                <a:gd name="T46" fmla="*/ 798 w 1012"/>
                <a:gd name="T47" fmla="*/ 986 h 2124"/>
                <a:gd name="T48" fmla="*/ 798 w 1012"/>
                <a:gd name="T49" fmla="*/ 1044 h 2124"/>
                <a:gd name="T50" fmla="*/ 790 w 1012"/>
                <a:gd name="T51" fmla="*/ 1064 h 2124"/>
                <a:gd name="T52" fmla="*/ 770 w 1012"/>
                <a:gd name="T53" fmla="*/ 1072 h 2124"/>
                <a:gd name="T54" fmla="*/ 260 w 1012"/>
                <a:gd name="T55" fmla="*/ 1072 h 2124"/>
                <a:gd name="T56" fmla="*/ 240 w 1012"/>
                <a:gd name="T57" fmla="*/ 1064 h 2124"/>
                <a:gd name="T58" fmla="*/ 232 w 1012"/>
                <a:gd name="T59" fmla="*/ 1044 h 2124"/>
                <a:gd name="T60" fmla="*/ 800 w 1012"/>
                <a:gd name="T61" fmla="*/ 736 h 2124"/>
                <a:gd name="T62" fmla="*/ 798 w 1012"/>
                <a:gd name="T63" fmla="*/ 746 h 2124"/>
                <a:gd name="T64" fmla="*/ 784 w 1012"/>
                <a:gd name="T65" fmla="*/ 762 h 2124"/>
                <a:gd name="T66" fmla="*/ 264 w 1012"/>
                <a:gd name="T67" fmla="*/ 778 h 2124"/>
                <a:gd name="T68" fmla="*/ 252 w 1012"/>
                <a:gd name="T69" fmla="*/ 776 h 2124"/>
                <a:gd name="T70" fmla="*/ 238 w 1012"/>
                <a:gd name="T71" fmla="*/ 762 h 2124"/>
                <a:gd name="T72" fmla="*/ 234 w 1012"/>
                <a:gd name="T73" fmla="*/ 692 h 2124"/>
                <a:gd name="T74" fmla="*/ 236 w 1012"/>
                <a:gd name="T75" fmla="*/ 682 h 2124"/>
                <a:gd name="T76" fmla="*/ 250 w 1012"/>
                <a:gd name="T77" fmla="*/ 666 h 2124"/>
                <a:gd name="T78" fmla="*/ 772 w 1012"/>
                <a:gd name="T79" fmla="*/ 650 h 2124"/>
                <a:gd name="T80" fmla="*/ 782 w 1012"/>
                <a:gd name="T81" fmla="*/ 652 h 2124"/>
                <a:gd name="T82" fmla="*/ 796 w 1012"/>
                <a:gd name="T83" fmla="*/ 666 h 2124"/>
                <a:gd name="T84" fmla="*/ 800 w 1012"/>
                <a:gd name="T85" fmla="*/ 736 h 2124"/>
                <a:gd name="T86" fmla="*/ 766 w 1012"/>
                <a:gd name="T87" fmla="*/ 350 h 2124"/>
                <a:gd name="T88" fmla="*/ 776 w 1012"/>
                <a:gd name="T89" fmla="*/ 350 h 2124"/>
                <a:gd name="T90" fmla="*/ 792 w 1012"/>
                <a:gd name="T91" fmla="*/ 364 h 2124"/>
                <a:gd name="T92" fmla="*/ 798 w 1012"/>
                <a:gd name="T93" fmla="*/ 432 h 2124"/>
                <a:gd name="T94" fmla="*/ 798 w 1012"/>
                <a:gd name="T95" fmla="*/ 444 h 2124"/>
                <a:gd name="T96" fmla="*/ 784 w 1012"/>
                <a:gd name="T97" fmla="*/ 460 h 2124"/>
                <a:gd name="T98" fmla="*/ 264 w 1012"/>
                <a:gd name="T99" fmla="*/ 498 h 2124"/>
                <a:gd name="T100" fmla="*/ 254 w 1012"/>
                <a:gd name="T101" fmla="*/ 498 h 2124"/>
                <a:gd name="T102" fmla="*/ 238 w 1012"/>
                <a:gd name="T103" fmla="*/ 484 h 2124"/>
                <a:gd name="T104" fmla="*/ 230 w 1012"/>
                <a:gd name="T105" fmla="*/ 416 h 2124"/>
                <a:gd name="T106" fmla="*/ 232 w 1012"/>
                <a:gd name="T107" fmla="*/ 404 h 2124"/>
                <a:gd name="T108" fmla="*/ 246 w 1012"/>
                <a:gd name="T109" fmla="*/ 388 h 2124"/>
                <a:gd name="T110" fmla="*/ 256 w 1012"/>
                <a:gd name="T111" fmla="*/ 386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12" h="2124">
                  <a:moveTo>
                    <a:pt x="2" y="144"/>
                  </a:moveTo>
                  <a:lnTo>
                    <a:pt x="2" y="2046"/>
                  </a:lnTo>
                  <a:lnTo>
                    <a:pt x="2" y="2046"/>
                  </a:lnTo>
                  <a:lnTo>
                    <a:pt x="2" y="2056"/>
                  </a:lnTo>
                  <a:lnTo>
                    <a:pt x="1010" y="2124"/>
                  </a:lnTo>
                  <a:lnTo>
                    <a:pt x="1010" y="2122"/>
                  </a:lnTo>
                  <a:lnTo>
                    <a:pt x="1012" y="2124"/>
                  </a:lnTo>
                  <a:lnTo>
                    <a:pt x="1012" y="0"/>
                  </a:lnTo>
                  <a:lnTo>
                    <a:pt x="0" y="110"/>
                  </a:lnTo>
                  <a:lnTo>
                    <a:pt x="2" y="144"/>
                  </a:lnTo>
                  <a:close/>
                  <a:moveTo>
                    <a:pt x="802" y="1358"/>
                  </a:moveTo>
                  <a:lnTo>
                    <a:pt x="802" y="1358"/>
                  </a:lnTo>
                  <a:lnTo>
                    <a:pt x="800" y="1370"/>
                  </a:lnTo>
                  <a:lnTo>
                    <a:pt x="794" y="1378"/>
                  </a:lnTo>
                  <a:lnTo>
                    <a:pt x="784" y="1384"/>
                  </a:lnTo>
                  <a:lnTo>
                    <a:pt x="774" y="1386"/>
                  </a:lnTo>
                  <a:lnTo>
                    <a:pt x="264" y="1368"/>
                  </a:lnTo>
                  <a:lnTo>
                    <a:pt x="264" y="1368"/>
                  </a:lnTo>
                  <a:lnTo>
                    <a:pt x="252" y="1364"/>
                  </a:lnTo>
                  <a:lnTo>
                    <a:pt x="244" y="1358"/>
                  </a:lnTo>
                  <a:lnTo>
                    <a:pt x="238" y="1350"/>
                  </a:lnTo>
                  <a:lnTo>
                    <a:pt x="236" y="1338"/>
                  </a:lnTo>
                  <a:lnTo>
                    <a:pt x="238" y="1280"/>
                  </a:lnTo>
                  <a:lnTo>
                    <a:pt x="238" y="1280"/>
                  </a:lnTo>
                  <a:lnTo>
                    <a:pt x="242" y="1270"/>
                  </a:lnTo>
                  <a:lnTo>
                    <a:pt x="248" y="1262"/>
                  </a:lnTo>
                  <a:lnTo>
                    <a:pt x="256" y="1256"/>
                  </a:lnTo>
                  <a:lnTo>
                    <a:pt x="268" y="1254"/>
                  </a:lnTo>
                  <a:lnTo>
                    <a:pt x="778" y="1272"/>
                  </a:lnTo>
                  <a:lnTo>
                    <a:pt x="778" y="1272"/>
                  </a:lnTo>
                  <a:lnTo>
                    <a:pt x="788" y="1274"/>
                  </a:lnTo>
                  <a:lnTo>
                    <a:pt x="796" y="1280"/>
                  </a:lnTo>
                  <a:lnTo>
                    <a:pt x="802" y="1290"/>
                  </a:lnTo>
                  <a:lnTo>
                    <a:pt x="804" y="1300"/>
                  </a:lnTo>
                  <a:lnTo>
                    <a:pt x="802" y="1358"/>
                  </a:lnTo>
                  <a:close/>
                  <a:moveTo>
                    <a:pt x="232" y="1044"/>
                  </a:moveTo>
                  <a:lnTo>
                    <a:pt x="232" y="986"/>
                  </a:lnTo>
                  <a:lnTo>
                    <a:pt x="232" y="986"/>
                  </a:lnTo>
                  <a:lnTo>
                    <a:pt x="234" y="976"/>
                  </a:lnTo>
                  <a:lnTo>
                    <a:pt x="240" y="968"/>
                  </a:lnTo>
                  <a:lnTo>
                    <a:pt x="248" y="962"/>
                  </a:lnTo>
                  <a:lnTo>
                    <a:pt x="260" y="960"/>
                  </a:lnTo>
                  <a:lnTo>
                    <a:pt x="770" y="960"/>
                  </a:lnTo>
                  <a:lnTo>
                    <a:pt x="770" y="960"/>
                  </a:lnTo>
                  <a:lnTo>
                    <a:pt x="780" y="962"/>
                  </a:lnTo>
                  <a:lnTo>
                    <a:pt x="790" y="968"/>
                  </a:lnTo>
                  <a:lnTo>
                    <a:pt x="796" y="976"/>
                  </a:lnTo>
                  <a:lnTo>
                    <a:pt x="798" y="986"/>
                  </a:lnTo>
                  <a:lnTo>
                    <a:pt x="798" y="1044"/>
                  </a:lnTo>
                  <a:lnTo>
                    <a:pt x="798" y="1044"/>
                  </a:lnTo>
                  <a:lnTo>
                    <a:pt x="796" y="1056"/>
                  </a:lnTo>
                  <a:lnTo>
                    <a:pt x="790" y="1064"/>
                  </a:lnTo>
                  <a:lnTo>
                    <a:pt x="780" y="1070"/>
                  </a:lnTo>
                  <a:lnTo>
                    <a:pt x="770" y="1072"/>
                  </a:lnTo>
                  <a:lnTo>
                    <a:pt x="260" y="1072"/>
                  </a:lnTo>
                  <a:lnTo>
                    <a:pt x="260" y="1072"/>
                  </a:lnTo>
                  <a:lnTo>
                    <a:pt x="248" y="1070"/>
                  </a:lnTo>
                  <a:lnTo>
                    <a:pt x="240" y="1064"/>
                  </a:lnTo>
                  <a:lnTo>
                    <a:pt x="234" y="1056"/>
                  </a:lnTo>
                  <a:lnTo>
                    <a:pt x="232" y="1044"/>
                  </a:lnTo>
                  <a:lnTo>
                    <a:pt x="232" y="1044"/>
                  </a:lnTo>
                  <a:close/>
                  <a:moveTo>
                    <a:pt x="800" y="736"/>
                  </a:moveTo>
                  <a:lnTo>
                    <a:pt x="800" y="736"/>
                  </a:lnTo>
                  <a:lnTo>
                    <a:pt x="798" y="746"/>
                  </a:lnTo>
                  <a:lnTo>
                    <a:pt x="794" y="756"/>
                  </a:lnTo>
                  <a:lnTo>
                    <a:pt x="784" y="762"/>
                  </a:lnTo>
                  <a:lnTo>
                    <a:pt x="774" y="764"/>
                  </a:lnTo>
                  <a:lnTo>
                    <a:pt x="264" y="778"/>
                  </a:lnTo>
                  <a:lnTo>
                    <a:pt x="264" y="778"/>
                  </a:lnTo>
                  <a:lnTo>
                    <a:pt x="252" y="776"/>
                  </a:lnTo>
                  <a:lnTo>
                    <a:pt x="244" y="770"/>
                  </a:lnTo>
                  <a:lnTo>
                    <a:pt x="238" y="762"/>
                  </a:lnTo>
                  <a:lnTo>
                    <a:pt x="236" y="750"/>
                  </a:lnTo>
                  <a:lnTo>
                    <a:pt x="234" y="692"/>
                  </a:lnTo>
                  <a:lnTo>
                    <a:pt x="234" y="692"/>
                  </a:lnTo>
                  <a:lnTo>
                    <a:pt x="236" y="682"/>
                  </a:lnTo>
                  <a:lnTo>
                    <a:pt x="242" y="672"/>
                  </a:lnTo>
                  <a:lnTo>
                    <a:pt x="250" y="666"/>
                  </a:lnTo>
                  <a:lnTo>
                    <a:pt x="260" y="664"/>
                  </a:lnTo>
                  <a:lnTo>
                    <a:pt x="772" y="650"/>
                  </a:lnTo>
                  <a:lnTo>
                    <a:pt x="772" y="650"/>
                  </a:lnTo>
                  <a:lnTo>
                    <a:pt x="782" y="652"/>
                  </a:lnTo>
                  <a:lnTo>
                    <a:pt x="790" y="658"/>
                  </a:lnTo>
                  <a:lnTo>
                    <a:pt x="796" y="666"/>
                  </a:lnTo>
                  <a:lnTo>
                    <a:pt x="800" y="678"/>
                  </a:lnTo>
                  <a:lnTo>
                    <a:pt x="800" y="736"/>
                  </a:lnTo>
                  <a:close/>
                  <a:moveTo>
                    <a:pt x="256" y="386"/>
                  </a:moveTo>
                  <a:lnTo>
                    <a:pt x="766" y="350"/>
                  </a:lnTo>
                  <a:lnTo>
                    <a:pt x="766" y="350"/>
                  </a:lnTo>
                  <a:lnTo>
                    <a:pt x="776" y="350"/>
                  </a:lnTo>
                  <a:lnTo>
                    <a:pt x="786" y="356"/>
                  </a:lnTo>
                  <a:lnTo>
                    <a:pt x="792" y="364"/>
                  </a:lnTo>
                  <a:lnTo>
                    <a:pt x="794" y="374"/>
                  </a:lnTo>
                  <a:lnTo>
                    <a:pt x="798" y="432"/>
                  </a:lnTo>
                  <a:lnTo>
                    <a:pt x="798" y="432"/>
                  </a:lnTo>
                  <a:lnTo>
                    <a:pt x="798" y="444"/>
                  </a:lnTo>
                  <a:lnTo>
                    <a:pt x="792" y="452"/>
                  </a:lnTo>
                  <a:lnTo>
                    <a:pt x="784" y="460"/>
                  </a:lnTo>
                  <a:lnTo>
                    <a:pt x="774" y="462"/>
                  </a:lnTo>
                  <a:lnTo>
                    <a:pt x="264" y="498"/>
                  </a:lnTo>
                  <a:lnTo>
                    <a:pt x="264" y="498"/>
                  </a:lnTo>
                  <a:lnTo>
                    <a:pt x="254" y="498"/>
                  </a:lnTo>
                  <a:lnTo>
                    <a:pt x="244" y="492"/>
                  </a:lnTo>
                  <a:lnTo>
                    <a:pt x="238" y="484"/>
                  </a:lnTo>
                  <a:lnTo>
                    <a:pt x="234" y="472"/>
                  </a:lnTo>
                  <a:lnTo>
                    <a:pt x="230" y="416"/>
                  </a:lnTo>
                  <a:lnTo>
                    <a:pt x="230" y="416"/>
                  </a:lnTo>
                  <a:lnTo>
                    <a:pt x="232" y="404"/>
                  </a:lnTo>
                  <a:lnTo>
                    <a:pt x="238" y="394"/>
                  </a:lnTo>
                  <a:lnTo>
                    <a:pt x="246" y="388"/>
                  </a:lnTo>
                  <a:lnTo>
                    <a:pt x="256" y="386"/>
                  </a:lnTo>
                  <a:lnTo>
                    <a:pt x="256" y="386"/>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grpSp>
      <p:cxnSp>
        <p:nvCxnSpPr>
          <p:cNvPr id="25" name="Straight Arrow Connector 24"/>
          <p:cNvCxnSpPr/>
          <p:nvPr/>
        </p:nvCxnSpPr>
        <p:spPr>
          <a:xfrm flipV="1">
            <a:off x="1799797" y="3146939"/>
            <a:ext cx="5319460" cy="2176175"/>
          </a:xfrm>
          <a:prstGeom prst="straightConnector1">
            <a:avLst/>
          </a:prstGeom>
          <a:ln w="57150">
            <a:solidFill>
              <a:schemeClr val="tx1">
                <a:lumMod val="20000"/>
                <a:lumOff val="8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3745371" y="3414343"/>
            <a:ext cx="3389497" cy="1417704"/>
          </a:xfrm>
          <a:prstGeom prst="straightConnector1">
            <a:avLst/>
          </a:prstGeom>
          <a:ln w="57150">
            <a:solidFill>
              <a:schemeClr val="tx1">
                <a:lumMod val="20000"/>
                <a:lumOff val="8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4271962" y="4011800"/>
            <a:ext cx="4927417" cy="2287571"/>
          </a:xfrm>
          <a:prstGeom prst="straightConnector1">
            <a:avLst/>
          </a:prstGeom>
          <a:ln w="57150">
            <a:solidFill>
              <a:schemeClr val="tx1">
                <a:lumMod val="20000"/>
                <a:lumOff val="8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V="1">
            <a:off x="2973829" y="3735824"/>
            <a:ext cx="4672019" cy="2051106"/>
          </a:xfrm>
          <a:prstGeom prst="straightConnector1">
            <a:avLst/>
          </a:prstGeom>
          <a:ln w="57150">
            <a:solidFill>
              <a:schemeClr val="tx1">
                <a:lumMod val="20000"/>
                <a:lumOff val="8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410041" y="1875410"/>
            <a:ext cx="5098920" cy="2243691"/>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tx2"/>
                </a:solidFill>
              </a:rPr>
              <a:t>Security Features</a:t>
            </a:r>
          </a:p>
          <a:p>
            <a:pPr marL="342900" indent="-342900">
              <a:lnSpc>
                <a:spcPct val="90000"/>
              </a:lnSpc>
              <a:spcAft>
                <a:spcPts val="600"/>
              </a:spcAft>
              <a:buFont typeface="Wingdings" panose="05000000000000000000" pitchFamily="2" charset="2"/>
              <a:buChar char="ü"/>
            </a:pPr>
            <a:r>
              <a:rPr lang="en-US" sz="2000" dirty="0">
                <a:solidFill>
                  <a:schemeClr val="tx1">
                    <a:lumMod val="60000"/>
                    <a:lumOff val="40000"/>
                  </a:schemeClr>
                </a:solidFill>
              </a:rPr>
              <a:t>Security embedded in systems and software (SDL)</a:t>
            </a:r>
          </a:p>
          <a:p>
            <a:pPr marL="342900" indent="-342900">
              <a:lnSpc>
                <a:spcPct val="90000"/>
              </a:lnSpc>
              <a:spcAft>
                <a:spcPts val="600"/>
              </a:spcAft>
              <a:buFont typeface="Wingdings" panose="05000000000000000000" pitchFamily="2" charset="2"/>
              <a:buChar char="ü"/>
            </a:pPr>
            <a:r>
              <a:rPr lang="en-US" sz="2000" dirty="0">
                <a:solidFill>
                  <a:schemeClr val="tx1">
                    <a:lumMod val="60000"/>
                    <a:lumOff val="40000"/>
                  </a:schemeClr>
                </a:solidFill>
              </a:rPr>
              <a:t>Centralized monitoring and logging </a:t>
            </a:r>
          </a:p>
          <a:p>
            <a:pPr marL="342900" indent="-342900">
              <a:lnSpc>
                <a:spcPct val="90000"/>
              </a:lnSpc>
              <a:spcAft>
                <a:spcPts val="600"/>
              </a:spcAft>
              <a:buFont typeface="Wingdings" panose="05000000000000000000" pitchFamily="2" charset="2"/>
              <a:buChar char="ü"/>
            </a:pPr>
            <a:r>
              <a:rPr lang="en-US" sz="2000" dirty="0">
                <a:solidFill>
                  <a:schemeClr val="tx1">
                    <a:lumMod val="60000"/>
                    <a:lumOff val="40000"/>
                  </a:schemeClr>
                </a:solidFill>
              </a:rPr>
              <a:t>Up-to-date software &amp; patch management</a:t>
            </a:r>
            <a:endParaRPr lang="en-US" sz="2400" dirty="0">
              <a:solidFill>
                <a:schemeClr val="tx1">
                  <a:lumMod val="60000"/>
                  <a:lumOff val="40000"/>
                </a:schemeClr>
              </a:solidFill>
            </a:endParaRPr>
          </a:p>
        </p:txBody>
      </p:sp>
      <p:sp>
        <p:nvSpPr>
          <p:cNvPr id="37" name="TextBox 36"/>
          <p:cNvSpPr txBox="1"/>
          <p:nvPr/>
        </p:nvSpPr>
        <p:spPr>
          <a:xfrm>
            <a:off x="7660179" y="5095965"/>
            <a:ext cx="4396343" cy="1203406"/>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ü"/>
            </a:pPr>
            <a:r>
              <a:rPr lang="en-US" sz="2000" dirty="0">
                <a:solidFill>
                  <a:schemeClr val="tx1">
                    <a:lumMod val="60000"/>
                    <a:lumOff val="40000"/>
                  </a:schemeClr>
                </a:solidFill>
              </a:rPr>
              <a:t>On-call incident response team</a:t>
            </a:r>
          </a:p>
          <a:p>
            <a:pPr marL="342900" indent="-342900">
              <a:lnSpc>
                <a:spcPct val="90000"/>
              </a:lnSpc>
              <a:spcAft>
                <a:spcPts val="600"/>
              </a:spcAft>
              <a:buFont typeface="Wingdings" panose="05000000000000000000" pitchFamily="2" charset="2"/>
              <a:buChar char="ü"/>
            </a:pPr>
            <a:r>
              <a:rPr lang="en-US" sz="2000" dirty="0">
                <a:solidFill>
                  <a:schemeClr val="tx1">
                    <a:lumMod val="60000"/>
                    <a:lumOff val="40000"/>
                  </a:schemeClr>
                </a:solidFill>
              </a:rPr>
              <a:t>Sophisticated intrusion detection controls</a:t>
            </a:r>
          </a:p>
        </p:txBody>
      </p:sp>
      <p:sp>
        <p:nvSpPr>
          <p:cNvPr id="11" name="Freeform 47"/>
          <p:cNvSpPr>
            <a:spLocks/>
          </p:cNvSpPr>
          <p:nvPr/>
        </p:nvSpPr>
        <p:spPr bwMode="auto">
          <a:xfrm>
            <a:off x="8965921" y="1501984"/>
            <a:ext cx="2902399" cy="1774371"/>
          </a:xfrm>
          <a:custGeom>
            <a:avLst/>
            <a:gdLst>
              <a:gd name="T0" fmla="*/ 48 w 298"/>
              <a:gd name="T1" fmla="*/ 85 h 194"/>
              <a:gd name="T2" fmla="*/ 48 w 298"/>
              <a:gd name="T3" fmla="*/ 81 h 194"/>
              <a:gd name="T4" fmla="*/ 130 w 298"/>
              <a:gd name="T5" fmla="*/ 0 h 194"/>
              <a:gd name="T6" fmla="*/ 198 w 298"/>
              <a:gd name="T7" fmla="*/ 36 h 194"/>
              <a:gd name="T8" fmla="*/ 220 w 298"/>
              <a:gd name="T9" fmla="*/ 30 h 194"/>
              <a:gd name="T10" fmla="*/ 247 w 298"/>
              <a:gd name="T11" fmla="*/ 38 h 194"/>
              <a:gd name="T12" fmla="*/ 268 w 298"/>
              <a:gd name="T13" fmla="*/ 76 h 194"/>
              <a:gd name="T14" fmla="*/ 298 w 298"/>
              <a:gd name="T15" fmla="*/ 130 h 194"/>
              <a:gd name="T16" fmla="*/ 240 w 298"/>
              <a:gd name="T17" fmla="*/ 194 h 194"/>
              <a:gd name="T18" fmla="*/ 233 w 298"/>
              <a:gd name="T19" fmla="*/ 194 h 194"/>
              <a:gd name="T20" fmla="*/ 226 w 298"/>
              <a:gd name="T21" fmla="*/ 194 h 194"/>
              <a:gd name="T22" fmla="*/ 92 w 298"/>
              <a:gd name="T23" fmla="*/ 194 h 194"/>
              <a:gd name="T24" fmla="*/ 90 w 298"/>
              <a:gd name="T25" fmla="*/ 194 h 194"/>
              <a:gd name="T26" fmla="*/ 86 w 298"/>
              <a:gd name="T27" fmla="*/ 194 h 194"/>
              <a:gd name="T28" fmla="*/ 77 w 298"/>
              <a:gd name="T29" fmla="*/ 194 h 194"/>
              <a:gd name="T30" fmla="*/ 55 w 298"/>
              <a:gd name="T31" fmla="*/ 194 h 194"/>
              <a:gd name="T32" fmla="*/ 0 w 298"/>
              <a:gd name="T33" fmla="*/ 139 h 194"/>
              <a:gd name="T34" fmla="*/ 48 w 298"/>
              <a:gd name="T35" fmla="*/ 8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8" h="194">
                <a:moveTo>
                  <a:pt x="48" y="85"/>
                </a:moveTo>
                <a:cubicBezTo>
                  <a:pt x="48" y="84"/>
                  <a:pt x="48" y="82"/>
                  <a:pt x="48" y="81"/>
                </a:cubicBezTo>
                <a:cubicBezTo>
                  <a:pt x="48" y="36"/>
                  <a:pt x="84" y="0"/>
                  <a:pt x="130" y="0"/>
                </a:cubicBezTo>
                <a:cubicBezTo>
                  <a:pt x="158" y="0"/>
                  <a:pt x="183" y="14"/>
                  <a:pt x="198" y="36"/>
                </a:cubicBezTo>
                <a:cubicBezTo>
                  <a:pt x="205" y="32"/>
                  <a:pt x="212" y="30"/>
                  <a:pt x="220" y="30"/>
                </a:cubicBezTo>
                <a:cubicBezTo>
                  <a:pt x="230" y="30"/>
                  <a:pt x="239" y="33"/>
                  <a:pt x="247" y="38"/>
                </a:cubicBezTo>
                <a:cubicBezTo>
                  <a:pt x="259" y="46"/>
                  <a:pt x="268" y="60"/>
                  <a:pt x="268" y="76"/>
                </a:cubicBezTo>
                <a:cubicBezTo>
                  <a:pt x="286" y="88"/>
                  <a:pt x="298" y="108"/>
                  <a:pt x="298" y="130"/>
                </a:cubicBezTo>
                <a:cubicBezTo>
                  <a:pt x="298" y="163"/>
                  <a:pt x="272" y="191"/>
                  <a:pt x="240" y="194"/>
                </a:cubicBezTo>
                <a:cubicBezTo>
                  <a:pt x="238" y="194"/>
                  <a:pt x="235" y="194"/>
                  <a:pt x="233" y="194"/>
                </a:cubicBezTo>
                <a:cubicBezTo>
                  <a:pt x="231" y="194"/>
                  <a:pt x="229" y="194"/>
                  <a:pt x="226" y="194"/>
                </a:cubicBezTo>
                <a:cubicBezTo>
                  <a:pt x="196" y="194"/>
                  <a:pt x="126" y="194"/>
                  <a:pt x="92" y="194"/>
                </a:cubicBezTo>
                <a:cubicBezTo>
                  <a:pt x="91" y="194"/>
                  <a:pt x="91" y="194"/>
                  <a:pt x="90" y="194"/>
                </a:cubicBezTo>
                <a:cubicBezTo>
                  <a:pt x="86" y="194"/>
                  <a:pt x="86" y="194"/>
                  <a:pt x="86" y="194"/>
                </a:cubicBezTo>
                <a:cubicBezTo>
                  <a:pt x="85" y="194"/>
                  <a:pt x="80" y="194"/>
                  <a:pt x="77" y="194"/>
                </a:cubicBezTo>
                <a:cubicBezTo>
                  <a:pt x="55" y="194"/>
                  <a:pt x="55" y="194"/>
                  <a:pt x="55" y="194"/>
                </a:cubicBezTo>
                <a:cubicBezTo>
                  <a:pt x="25" y="194"/>
                  <a:pt x="0" y="169"/>
                  <a:pt x="0" y="139"/>
                </a:cubicBezTo>
                <a:cubicBezTo>
                  <a:pt x="0" y="112"/>
                  <a:pt x="21" y="89"/>
                  <a:pt x="48" y="85"/>
                </a:cubicBezTo>
                <a:close/>
              </a:path>
            </a:pathLst>
          </a:custGeom>
          <a:solidFill>
            <a:schemeClr val="bg1"/>
          </a:solidFill>
          <a:ln w="38100">
            <a:solidFill>
              <a:schemeClr val="tx2"/>
            </a:solidFill>
          </a:ln>
          <a:effectLst>
            <a:outerShdw blurRad="1270000" sx="102000" sy="102000" algn="ctr" rotWithShape="0">
              <a:schemeClr val="bg1"/>
            </a:outerShdw>
          </a:effectLs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grpSp>
        <p:nvGrpSpPr>
          <p:cNvPr id="39" name="Group 38"/>
          <p:cNvGrpSpPr/>
          <p:nvPr/>
        </p:nvGrpSpPr>
        <p:grpSpPr>
          <a:xfrm>
            <a:off x="10616735" y="2564018"/>
            <a:ext cx="787107" cy="534810"/>
            <a:chOff x="10616735" y="2564018"/>
            <a:chExt cx="787107" cy="534810"/>
          </a:xfrm>
          <a:solidFill>
            <a:schemeClr val="tx2"/>
          </a:solidFill>
        </p:grpSpPr>
        <p:sp>
          <p:nvSpPr>
            <p:cNvPr id="40" name="Freeform 49"/>
            <p:cNvSpPr>
              <a:spLocks noEditPoints="1"/>
            </p:cNvSpPr>
            <p:nvPr/>
          </p:nvSpPr>
          <p:spPr bwMode="auto">
            <a:xfrm>
              <a:off x="10890183" y="2564018"/>
              <a:ext cx="243233" cy="534810"/>
            </a:xfrm>
            <a:custGeom>
              <a:avLst/>
              <a:gdLst>
                <a:gd name="T0" fmla="*/ 964 w 966"/>
                <a:gd name="T1" fmla="*/ 244 h 2124"/>
                <a:gd name="T2" fmla="*/ 964 w 966"/>
                <a:gd name="T3" fmla="*/ 18 h 2124"/>
                <a:gd name="T4" fmla="*/ 100 w 966"/>
                <a:gd name="T5" fmla="*/ 0 h 2124"/>
                <a:gd name="T6" fmla="*/ 0 w 966"/>
                <a:gd name="T7" fmla="*/ 244 h 2124"/>
                <a:gd name="T8" fmla="*/ 0 w 966"/>
                <a:gd name="T9" fmla="*/ 2106 h 2124"/>
                <a:gd name="T10" fmla="*/ 864 w 966"/>
                <a:gd name="T11" fmla="*/ 2124 h 2124"/>
                <a:gd name="T12" fmla="*/ 966 w 966"/>
                <a:gd name="T13" fmla="*/ 2124 h 2124"/>
                <a:gd name="T14" fmla="*/ 966 w 966"/>
                <a:gd name="T15" fmla="*/ 2014 h 2124"/>
                <a:gd name="T16" fmla="*/ 966 w 966"/>
                <a:gd name="T17" fmla="*/ 1880 h 2124"/>
                <a:gd name="T18" fmla="*/ 964 w 966"/>
                <a:gd name="T19" fmla="*/ 1880 h 2124"/>
                <a:gd name="T20" fmla="*/ 964 w 966"/>
                <a:gd name="T21" fmla="*/ 244 h 2124"/>
                <a:gd name="T22" fmla="*/ 190 w 966"/>
                <a:gd name="T23" fmla="*/ 998 h 2124"/>
                <a:gd name="T24" fmla="*/ 198 w 966"/>
                <a:gd name="T25" fmla="*/ 978 h 2124"/>
                <a:gd name="T26" fmla="*/ 218 w 966"/>
                <a:gd name="T27" fmla="*/ 968 h 2124"/>
                <a:gd name="T28" fmla="*/ 748 w 966"/>
                <a:gd name="T29" fmla="*/ 968 h 2124"/>
                <a:gd name="T30" fmla="*/ 768 w 966"/>
                <a:gd name="T31" fmla="*/ 978 h 2124"/>
                <a:gd name="T32" fmla="*/ 776 w 966"/>
                <a:gd name="T33" fmla="*/ 998 h 2124"/>
                <a:gd name="T34" fmla="*/ 776 w 966"/>
                <a:gd name="T35" fmla="*/ 1058 h 2124"/>
                <a:gd name="T36" fmla="*/ 768 w 966"/>
                <a:gd name="T37" fmla="*/ 1078 h 2124"/>
                <a:gd name="T38" fmla="*/ 748 w 966"/>
                <a:gd name="T39" fmla="*/ 1086 h 2124"/>
                <a:gd name="T40" fmla="*/ 218 w 966"/>
                <a:gd name="T41" fmla="*/ 1086 h 2124"/>
                <a:gd name="T42" fmla="*/ 198 w 966"/>
                <a:gd name="T43" fmla="*/ 1078 h 2124"/>
                <a:gd name="T44" fmla="*/ 190 w 966"/>
                <a:gd name="T45" fmla="*/ 1058 h 2124"/>
                <a:gd name="T46" fmla="*/ 782 w 966"/>
                <a:gd name="T47" fmla="*/ 1374 h 2124"/>
                <a:gd name="T48" fmla="*/ 780 w 966"/>
                <a:gd name="T49" fmla="*/ 1384 h 2124"/>
                <a:gd name="T50" fmla="*/ 766 w 966"/>
                <a:gd name="T51" fmla="*/ 1400 h 2124"/>
                <a:gd name="T52" fmla="*/ 224 w 966"/>
                <a:gd name="T53" fmla="*/ 1402 h 2124"/>
                <a:gd name="T54" fmla="*/ 214 w 966"/>
                <a:gd name="T55" fmla="*/ 1400 h 2124"/>
                <a:gd name="T56" fmla="*/ 198 w 966"/>
                <a:gd name="T57" fmla="*/ 1384 h 2124"/>
                <a:gd name="T58" fmla="*/ 196 w 966"/>
                <a:gd name="T59" fmla="*/ 1312 h 2124"/>
                <a:gd name="T60" fmla="*/ 198 w 966"/>
                <a:gd name="T61" fmla="*/ 1302 h 2124"/>
                <a:gd name="T62" fmla="*/ 214 w 966"/>
                <a:gd name="T63" fmla="*/ 1286 h 2124"/>
                <a:gd name="T64" fmla="*/ 754 w 966"/>
                <a:gd name="T65" fmla="*/ 1284 h 2124"/>
                <a:gd name="T66" fmla="*/ 766 w 966"/>
                <a:gd name="T67" fmla="*/ 1286 h 2124"/>
                <a:gd name="T68" fmla="*/ 780 w 966"/>
                <a:gd name="T69" fmla="*/ 1302 h 2124"/>
                <a:gd name="T70" fmla="*/ 782 w 966"/>
                <a:gd name="T71" fmla="*/ 1374 h 2124"/>
                <a:gd name="T72" fmla="*/ 782 w 966"/>
                <a:gd name="T73" fmla="*/ 744 h 2124"/>
                <a:gd name="T74" fmla="*/ 774 w 966"/>
                <a:gd name="T75" fmla="*/ 764 h 2124"/>
                <a:gd name="T76" fmla="*/ 754 w 966"/>
                <a:gd name="T77" fmla="*/ 774 h 2124"/>
                <a:gd name="T78" fmla="*/ 224 w 966"/>
                <a:gd name="T79" fmla="*/ 774 h 2124"/>
                <a:gd name="T80" fmla="*/ 204 w 966"/>
                <a:gd name="T81" fmla="*/ 764 h 2124"/>
                <a:gd name="T82" fmla="*/ 196 w 966"/>
                <a:gd name="T83" fmla="*/ 744 h 2124"/>
                <a:gd name="T84" fmla="*/ 196 w 966"/>
                <a:gd name="T85" fmla="*/ 684 h 2124"/>
                <a:gd name="T86" fmla="*/ 204 w 966"/>
                <a:gd name="T87" fmla="*/ 664 h 2124"/>
                <a:gd name="T88" fmla="*/ 224 w 966"/>
                <a:gd name="T89" fmla="*/ 656 h 2124"/>
                <a:gd name="T90" fmla="*/ 754 w 966"/>
                <a:gd name="T91" fmla="*/ 656 h 2124"/>
                <a:gd name="T92" fmla="*/ 774 w 966"/>
                <a:gd name="T93" fmla="*/ 664 h 2124"/>
                <a:gd name="T94" fmla="*/ 782 w 966"/>
                <a:gd name="T95" fmla="*/ 684 h 2124"/>
                <a:gd name="T96" fmla="*/ 782 w 966"/>
                <a:gd name="T97" fmla="*/ 444 h 2124"/>
                <a:gd name="T98" fmla="*/ 780 w 966"/>
                <a:gd name="T99" fmla="*/ 454 h 2124"/>
                <a:gd name="T100" fmla="*/ 766 w 966"/>
                <a:gd name="T101" fmla="*/ 470 h 2124"/>
                <a:gd name="T102" fmla="*/ 224 w 966"/>
                <a:gd name="T103" fmla="*/ 472 h 2124"/>
                <a:gd name="T104" fmla="*/ 214 w 966"/>
                <a:gd name="T105" fmla="*/ 470 h 2124"/>
                <a:gd name="T106" fmla="*/ 198 w 966"/>
                <a:gd name="T107" fmla="*/ 454 h 2124"/>
                <a:gd name="T108" fmla="*/ 196 w 966"/>
                <a:gd name="T109" fmla="*/ 384 h 2124"/>
                <a:gd name="T110" fmla="*/ 198 w 966"/>
                <a:gd name="T111" fmla="*/ 372 h 2124"/>
                <a:gd name="T112" fmla="*/ 214 w 966"/>
                <a:gd name="T113" fmla="*/ 356 h 2124"/>
                <a:gd name="T114" fmla="*/ 754 w 966"/>
                <a:gd name="T115" fmla="*/ 354 h 2124"/>
                <a:gd name="T116" fmla="*/ 766 w 966"/>
                <a:gd name="T117" fmla="*/ 356 h 2124"/>
                <a:gd name="T118" fmla="*/ 780 w 966"/>
                <a:gd name="T119" fmla="*/ 372 h 2124"/>
                <a:gd name="T120" fmla="*/ 782 w 966"/>
                <a:gd name="T121" fmla="*/ 444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66" h="2124">
                  <a:moveTo>
                    <a:pt x="964" y="244"/>
                  </a:moveTo>
                  <a:lnTo>
                    <a:pt x="964" y="244"/>
                  </a:lnTo>
                  <a:lnTo>
                    <a:pt x="964" y="220"/>
                  </a:lnTo>
                  <a:lnTo>
                    <a:pt x="964" y="18"/>
                  </a:lnTo>
                  <a:lnTo>
                    <a:pt x="964" y="0"/>
                  </a:lnTo>
                  <a:lnTo>
                    <a:pt x="100" y="0"/>
                  </a:lnTo>
                  <a:lnTo>
                    <a:pt x="0" y="0"/>
                  </a:lnTo>
                  <a:lnTo>
                    <a:pt x="0" y="244"/>
                  </a:lnTo>
                  <a:lnTo>
                    <a:pt x="0" y="2106"/>
                  </a:lnTo>
                  <a:lnTo>
                    <a:pt x="0" y="2106"/>
                  </a:lnTo>
                  <a:lnTo>
                    <a:pt x="0" y="2124"/>
                  </a:lnTo>
                  <a:lnTo>
                    <a:pt x="864" y="2124"/>
                  </a:lnTo>
                  <a:lnTo>
                    <a:pt x="964" y="2124"/>
                  </a:lnTo>
                  <a:lnTo>
                    <a:pt x="966" y="2124"/>
                  </a:lnTo>
                  <a:lnTo>
                    <a:pt x="966" y="2014"/>
                  </a:lnTo>
                  <a:lnTo>
                    <a:pt x="966" y="2014"/>
                  </a:lnTo>
                  <a:lnTo>
                    <a:pt x="966" y="2006"/>
                  </a:lnTo>
                  <a:lnTo>
                    <a:pt x="966" y="1880"/>
                  </a:lnTo>
                  <a:lnTo>
                    <a:pt x="964" y="1880"/>
                  </a:lnTo>
                  <a:lnTo>
                    <a:pt x="964" y="1880"/>
                  </a:lnTo>
                  <a:lnTo>
                    <a:pt x="964" y="244"/>
                  </a:lnTo>
                  <a:lnTo>
                    <a:pt x="964" y="244"/>
                  </a:lnTo>
                  <a:close/>
                  <a:moveTo>
                    <a:pt x="190" y="998"/>
                  </a:moveTo>
                  <a:lnTo>
                    <a:pt x="190" y="998"/>
                  </a:lnTo>
                  <a:lnTo>
                    <a:pt x="192" y="986"/>
                  </a:lnTo>
                  <a:lnTo>
                    <a:pt x="198" y="978"/>
                  </a:lnTo>
                  <a:lnTo>
                    <a:pt x="208" y="972"/>
                  </a:lnTo>
                  <a:lnTo>
                    <a:pt x="218" y="968"/>
                  </a:lnTo>
                  <a:lnTo>
                    <a:pt x="748" y="968"/>
                  </a:lnTo>
                  <a:lnTo>
                    <a:pt x="748" y="968"/>
                  </a:lnTo>
                  <a:lnTo>
                    <a:pt x="760" y="972"/>
                  </a:lnTo>
                  <a:lnTo>
                    <a:pt x="768" y="978"/>
                  </a:lnTo>
                  <a:lnTo>
                    <a:pt x="774" y="986"/>
                  </a:lnTo>
                  <a:lnTo>
                    <a:pt x="776" y="998"/>
                  </a:lnTo>
                  <a:lnTo>
                    <a:pt x="776" y="1058"/>
                  </a:lnTo>
                  <a:lnTo>
                    <a:pt x="776" y="1058"/>
                  </a:lnTo>
                  <a:lnTo>
                    <a:pt x="774" y="1068"/>
                  </a:lnTo>
                  <a:lnTo>
                    <a:pt x="768" y="1078"/>
                  </a:lnTo>
                  <a:lnTo>
                    <a:pt x="760" y="1084"/>
                  </a:lnTo>
                  <a:lnTo>
                    <a:pt x="748" y="1086"/>
                  </a:lnTo>
                  <a:lnTo>
                    <a:pt x="218" y="1086"/>
                  </a:lnTo>
                  <a:lnTo>
                    <a:pt x="218" y="1086"/>
                  </a:lnTo>
                  <a:lnTo>
                    <a:pt x="208" y="1084"/>
                  </a:lnTo>
                  <a:lnTo>
                    <a:pt x="198" y="1078"/>
                  </a:lnTo>
                  <a:lnTo>
                    <a:pt x="192" y="1068"/>
                  </a:lnTo>
                  <a:lnTo>
                    <a:pt x="190" y="1058"/>
                  </a:lnTo>
                  <a:lnTo>
                    <a:pt x="190" y="998"/>
                  </a:lnTo>
                  <a:close/>
                  <a:moveTo>
                    <a:pt x="782" y="1374"/>
                  </a:moveTo>
                  <a:lnTo>
                    <a:pt x="782" y="1374"/>
                  </a:lnTo>
                  <a:lnTo>
                    <a:pt x="780" y="1384"/>
                  </a:lnTo>
                  <a:lnTo>
                    <a:pt x="774" y="1394"/>
                  </a:lnTo>
                  <a:lnTo>
                    <a:pt x="766" y="1400"/>
                  </a:lnTo>
                  <a:lnTo>
                    <a:pt x="754" y="1402"/>
                  </a:lnTo>
                  <a:lnTo>
                    <a:pt x="224" y="1402"/>
                  </a:lnTo>
                  <a:lnTo>
                    <a:pt x="224" y="1402"/>
                  </a:lnTo>
                  <a:lnTo>
                    <a:pt x="214" y="1400"/>
                  </a:lnTo>
                  <a:lnTo>
                    <a:pt x="204" y="1394"/>
                  </a:lnTo>
                  <a:lnTo>
                    <a:pt x="198" y="1384"/>
                  </a:lnTo>
                  <a:lnTo>
                    <a:pt x="196" y="1374"/>
                  </a:lnTo>
                  <a:lnTo>
                    <a:pt x="196" y="1312"/>
                  </a:lnTo>
                  <a:lnTo>
                    <a:pt x="196" y="1312"/>
                  </a:lnTo>
                  <a:lnTo>
                    <a:pt x="198" y="1302"/>
                  </a:lnTo>
                  <a:lnTo>
                    <a:pt x="204" y="1292"/>
                  </a:lnTo>
                  <a:lnTo>
                    <a:pt x="214" y="1286"/>
                  </a:lnTo>
                  <a:lnTo>
                    <a:pt x="224" y="1284"/>
                  </a:lnTo>
                  <a:lnTo>
                    <a:pt x="754" y="1284"/>
                  </a:lnTo>
                  <a:lnTo>
                    <a:pt x="754" y="1284"/>
                  </a:lnTo>
                  <a:lnTo>
                    <a:pt x="766" y="1286"/>
                  </a:lnTo>
                  <a:lnTo>
                    <a:pt x="774" y="1292"/>
                  </a:lnTo>
                  <a:lnTo>
                    <a:pt x="780" y="1302"/>
                  </a:lnTo>
                  <a:lnTo>
                    <a:pt x="782" y="1312"/>
                  </a:lnTo>
                  <a:lnTo>
                    <a:pt x="782" y="1374"/>
                  </a:lnTo>
                  <a:close/>
                  <a:moveTo>
                    <a:pt x="782" y="744"/>
                  </a:moveTo>
                  <a:lnTo>
                    <a:pt x="782" y="744"/>
                  </a:lnTo>
                  <a:lnTo>
                    <a:pt x="780" y="756"/>
                  </a:lnTo>
                  <a:lnTo>
                    <a:pt x="774" y="764"/>
                  </a:lnTo>
                  <a:lnTo>
                    <a:pt x="766" y="772"/>
                  </a:lnTo>
                  <a:lnTo>
                    <a:pt x="754" y="774"/>
                  </a:lnTo>
                  <a:lnTo>
                    <a:pt x="224" y="774"/>
                  </a:lnTo>
                  <a:lnTo>
                    <a:pt x="224" y="774"/>
                  </a:lnTo>
                  <a:lnTo>
                    <a:pt x="214" y="772"/>
                  </a:lnTo>
                  <a:lnTo>
                    <a:pt x="204" y="764"/>
                  </a:lnTo>
                  <a:lnTo>
                    <a:pt x="198" y="756"/>
                  </a:lnTo>
                  <a:lnTo>
                    <a:pt x="196" y="744"/>
                  </a:lnTo>
                  <a:lnTo>
                    <a:pt x="196" y="684"/>
                  </a:lnTo>
                  <a:lnTo>
                    <a:pt x="196" y="684"/>
                  </a:lnTo>
                  <a:lnTo>
                    <a:pt x="198" y="674"/>
                  </a:lnTo>
                  <a:lnTo>
                    <a:pt x="204" y="664"/>
                  </a:lnTo>
                  <a:lnTo>
                    <a:pt x="214" y="658"/>
                  </a:lnTo>
                  <a:lnTo>
                    <a:pt x="224" y="656"/>
                  </a:lnTo>
                  <a:lnTo>
                    <a:pt x="754" y="656"/>
                  </a:lnTo>
                  <a:lnTo>
                    <a:pt x="754" y="656"/>
                  </a:lnTo>
                  <a:lnTo>
                    <a:pt x="766" y="658"/>
                  </a:lnTo>
                  <a:lnTo>
                    <a:pt x="774" y="664"/>
                  </a:lnTo>
                  <a:lnTo>
                    <a:pt x="780" y="674"/>
                  </a:lnTo>
                  <a:lnTo>
                    <a:pt x="782" y="684"/>
                  </a:lnTo>
                  <a:lnTo>
                    <a:pt x="782" y="744"/>
                  </a:lnTo>
                  <a:close/>
                  <a:moveTo>
                    <a:pt x="782" y="444"/>
                  </a:moveTo>
                  <a:lnTo>
                    <a:pt x="782" y="444"/>
                  </a:lnTo>
                  <a:lnTo>
                    <a:pt x="780" y="454"/>
                  </a:lnTo>
                  <a:lnTo>
                    <a:pt x="774" y="464"/>
                  </a:lnTo>
                  <a:lnTo>
                    <a:pt x="766" y="470"/>
                  </a:lnTo>
                  <a:lnTo>
                    <a:pt x="754" y="472"/>
                  </a:lnTo>
                  <a:lnTo>
                    <a:pt x="224" y="472"/>
                  </a:lnTo>
                  <a:lnTo>
                    <a:pt x="224" y="472"/>
                  </a:lnTo>
                  <a:lnTo>
                    <a:pt x="214" y="470"/>
                  </a:lnTo>
                  <a:lnTo>
                    <a:pt x="204" y="464"/>
                  </a:lnTo>
                  <a:lnTo>
                    <a:pt x="198" y="454"/>
                  </a:lnTo>
                  <a:lnTo>
                    <a:pt x="196" y="444"/>
                  </a:lnTo>
                  <a:lnTo>
                    <a:pt x="196" y="384"/>
                  </a:lnTo>
                  <a:lnTo>
                    <a:pt x="196" y="384"/>
                  </a:lnTo>
                  <a:lnTo>
                    <a:pt x="198" y="372"/>
                  </a:lnTo>
                  <a:lnTo>
                    <a:pt x="204" y="364"/>
                  </a:lnTo>
                  <a:lnTo>
                    <a:pt x="214" y="356"/>
                  </a:lnTo>
                  <a:lnTo>
                    <a:pt x="224" y="354"/>
                  </a:lnTo>
                  <a:lnTo>
                    <a:pt x="754" y="354"/>
                  </a:lnTo>
                  <a:lnTo>
                    <a:pt x="754" y="354"/>
                  </a:lnTo>
                  <a:lnTo>
                    <a:pt x="766" y="356"/>
                  </a:lnTo>
                  <a:lnTo>
                    <a:pt x="774" y="364"/>
                  </a:lnTo>
                  <a:lnTo>
                    <a:pt x="780" y="372"/>
                  </a:lnTo>
                  <a:lnTo>
                    <a:pt x="782" y="384"/>
                  </a:lnTo>
                  <a:lnTo>
                    <a:pt x="782" y="444"/>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1" name="Freeform 50"/>
            <p:cNvSpPr>
              <a:spLocks noEditPoints="1"/>
            </p:cNvSpPr>
            <p:nvPr/>
          </p:nvSpPr>
          <p:spPr bwMode="auto">
            <a:xfrm>
              <a:off x="11149027" y="2564018"/>
              <a:ext cx="254815" cy="534810"/>
            </a:xfrm>
            <a:custGeom>
              <a:avLst/>
              <a:gdLst>
                <a:gd name="T0" fmla="*/ 0 w 1012"/>
                <a:gd name="T1" fmla="*/ 2124 h 2124"/>
                <a:gd name="T2" fmla="*/ 4 w 1012"/>
                <a:gd name="T3" fmla="*/ 2124 h 2124"/>
                <a:gd name="T4" fmla="*/ 1010 w 1012"/>
                <a:gd name="T5" fmla="*/ 2048 h 2124"/>
                <a:gd name="T6" fmla="*/ 1012 w 1012"/>
                <a:gd name="T7" fmla="*/ 144 h 2124"/>
                <a:gd name="T8" fmla="*/ 0 w 1012"/>
                <a:gd name="T9" fmla="*/ 0 h 2124"/>
                <a:gd name="T10" fmla="*/ 214 w 1012"/>
                <a:gd name="T11" fmla="*/ 678 h 2124"/>
                <a:gd name="T12" fmla="*/ 222 w 1012"/>
                <a:gd name="T13" fmla="*/ 658 h 2124"/>
                <a:gd name="T14" fmla="*/ 242 w 1012"/>
                <a:gd name="T15" fmla="*/ 650 h 2124"/>
                <a:gd name="T16" fmla="*/ 752 w 1012"/>
                <a:gd name="T17" fmla="*/ 664 h 2124"/>
                <a:gd name="T18" fmla="*/ 772 w 1012"/>
                <a:gd name="T19" fmla="*/ 672 h 2124"/>
                <a:gd name="T20" fmla="*/ 780 w 1012"/>
                <a:gd name="T21" fmla="*/ 692 h 2124"/>
                <a:gd name="T22" fmla="*/ 778 w 1012"/>
                <a:gd name="T23" fmla="*/ 750 h 2124"/>
                <a:gd name="T24" fmla="*/ 770 w 1012"/>
                <a:gd name="T25" fmla="*/ 770 h 2124"/>
                <a:gd name="T26" fmla="*/ 750 w 1012"/>
                <a:gd name="T27" fmla="*/ 778 h 2124"/>
                <a:gd name="T28" fmla="*/ 240 w 1012"/>
                <a:gd name="T29" fmla="*/ 764 h 2124"/>
                <a:gd name="T30" fmla="*/ 220 w 1012"/>
                <a:gd name="T31" fmla="*/ 756 h 2124"/>
                <a:gd name="T32" fmla="*/ 212 w 1012"/>
                <a:gd name="T33" fmla="*/ 736 h 2124"/>
                <a:gd name="T34" fmla="*/ 750 w 1012"/>
                <a:gd name="T35" fmla="*/ 1368 h 2124"/>
                <a:gd name="T36" fmla="*/ 240 w 1012"/>
                <a:gd name="T37" fmla="*/ 1386 h 2124"/>
                <a:gd name="T38" fmla="*/ 220 w 1012"/>
                <a:gd name="T39" fmla="*/ 1378 h 2124"/>
                <a:gd name="T40" fmla="*/ 212 w 1012"/>
                <a:gd name="T41" fmla="*/ 1358 h 2124"/>
                <a:gd name="T42" fmla="*/ 210 w 1012"/>
                <a:gd name="T43" fmla="*/ 1300 h 2124"/>
                <a:gd name="T44" fmla="*/ 216 w 1012"/>
                <a:gd name="T45" fmla="*/ 1280 h 2124"/>
                <a:gd name="T46" fmla="*/ 236 w 1012"/>
                <a:gd name="T47" fmla="*/ 1272 h 2124"/>
                <a:gd name="T48" fmla="*/ 746 w 1012"/>
                <a:gd name="T49" fmla="*/ 1254 h 2124"/>
                <a:gd name="T50" fmla="*/ 766 w 1012"/>
                <a:gd name="T51" fmla="*/ 1262 h 2124"/>
                <a:gd name="T52" fmla="*/ 774 w 1012"/>
                <a:gd name="T53" fmla="*/ 1280 h 2124"/>
                <a:gd name="T54" fmla="*/ 776 w 1012"/>
                <a:gd name="T55" fmla="*/ 1338 h 2124"/>
                <a:gd name="T56" fmla="*/ 770 w 1012"/>
                <a:gd name="T57" fmla="*/ 1358 h 2124"/>
                <a:gd name="T58" fmla="*/ 750 w 1012"/>
                <a:gd name="T59" fmla="*/ 1368 h 2124"/>
                <a:gd name="T60" fmla="*/ 782 w 1012"/>
                <a:gd name="T61" fmla="*/ 1044 h 2124"/>
                <a:gd name="T62" fmla="*/ 780 w 1012"/>
                <a:gd name="T63" fmla="*/ 1056 h 2124"/>
                <a:gd name="T64" fmla="*/ 764 w 1012"/>
                <a:gd name="T65" fmla="*/ 1070 h 2124"/>
                <a:gd name="T66" fmla="*/ 244 w 1012"/>
                <a:gd name="T67" fmla="*/ 1072 h 2124"/>
                <a:gd name="T68" fmla="*/ 232 w 1012"/>
                <a:gd name="T69" fmla="*/ 1070 h 2124"/>
                <a:gd name="T70" fmla="*/ 218 w 1012"/>
                <a:gd name="T71" fmla="*/ 1056 h 2124"/>
                <a:gd name="T72" fmla="*/ 216 w 1012"/>
                <a:gd name="T73" fmla="*/ 986 h 2124"/>
                <a:gd name="T74" fmla="*/ 218 w 1012"/>
                <a:gd name="T75" fmla="*/ 976 h 2124"/>
                <a:gd name="T76" fmla="*/ 232 w 1012"/>
                <a:gd name="T77" fmla="*/ 962 h 2124"/>
                <a:gd name="T78" fmla="*/ 754 w 1012"/>
                <a:gd name="T79" fmla="*/ 960 h 2124"/>
                <a:gd name="T80" fmla="*/ 764 w 1012"/>
                <a:gd name="T81" fmla="*/ 962 h 2124"/>
                <a:gd name="T82" fmla="*/ 780 w 1012"/>
                <a:gd name="T83" fmla="*/ 976 h 2124"/>
                <a:gd name="T84" fmla="*/ 782 w 1012"/>
                <a:gd name="T85" fmla="*/ 1044 h 2124"/>
                <a:gd name="T86" fmla="*/ 778 w 1012"/>
                <a:gd name="T87" fmla="*/ 472 h 2124"/>
                <a:gd name="T88" fmla="*/ 770 w 1012"/>
                <a:gd name="T89" fmla="*/ 492 h 2124"/>
                <a:gd name="T90" fmla="*/ 750 w 1012"/>
                <a:gd name="T91" fmla="*/ 498 h 2124"/>
                <a:gd name="T92" fmla="*/ 240 w 1012"/>
                <a:gd name="T93" fmla="*/ 462 h 2124"/>
                <a:gd name="T94" fmla="*/ 222 w 1012"/>
                <a:gd name="T95" fmla="*/ 452 h 2124"/>
                <a:gd name="T96" fmla="*/ 214 w 1012"/>
                <a:gd name="T97" fmla="*/ 432 h 2124"/>
                <a:gd name="T98" fmla="*/ 218 w 1012"/>
                <a:gd name="T99" fmla="*/ 374 h 2124"/>
                <a:gd name="T100" fmla="*/ 228 w 1012"/>
                <a:gd name="T101" fmla="*/ 356 h 2124"/>
                <a:gd name="T102" fmla="*/ 248 w 1012"/>
                <a:gd name="T103" fmla="*/ 350 h 2124"/>
                <a:gd name="T104" fmla="*/ 758 w 1012"/>
                <a:gd name="T105" fmla="*/ 386 h 2124"/>
                <a:gd name="T106" fmla="*/ 776 w 1012"/>
                <a:gd name="T107" fmla="*/ 394 h 2124"/>
                <a:gd name="T108" fmla="*/ 782 w 1012"/>
                <a:gd name="T109" fmla="*/ 414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12" h="2124">
                  <a:moveTo>
                    <a:pt x="0" y="0"/>
                  </a:moveTo>
                  <a:lnTo>
                    <a:pt x="0" y="2124"/>
                  </a:lnTo>
                  <a:lnTo>
                    <a:pt x="4" y="2122"/>
                  </a:lnTo>
                  <a:lnTo>
                    <a:pt x="4" y="2124"/>
                  </a:lnTo>
                  <a:lnTo>
                    <a:pt x="1012" y="2056"/>
                  </a:lnTo>
                  <a:lnTo>
                    <a:pt x="1010" y="2048"/>
                  </a:lnTo>
                  <a:lnTo>
                    <a:pt x="1012" y="2048"/>
                  </a:lnTo>
                  <a:lnTo>
                    <a:pt x="1012" y="144"/>
                  </a:lnTo>
                  <a:lnTo>
                    <a:pt x="1012" y="110"/>
                  </a:lnTo>
                  <a:lnTo>
                    <a:pt x="0" y="0"/>
                  </a:lnTo>
                  <a:close/>
                  <a:moveTo>
                    <a:pt x="214" y="678"/>
                  </a:moveTo>
                  <a:lnTo>
                    <a:pt x="214" y="678"/>
                  </a:lnTo>
                  <a:lnTo>
                    <a:pt x="216" y="666"/>
                  </a:lnTo>
                  <a:lnTo>
                    <a:pt x="222" y="658"/>
                  </a:lnTo>
                  <a:lnTo>
                    <a:pt x="232" y="652"/>
                  </a:lnTo>
                  <a:lnTo>
                    <a:pt x="242" y="650"/>
                  </a:lnTo>
                  <a:lnTo>
                    <a:pt x="752" y="664"/>
                  </a:lnTo>
                  <a:lnTo>
                    <a:pt x="752" y="664"/>
                  </a:lnTo>
                  <a:lnTo>
                    <a:pt x="762" y="666"/>
                  </a:lnTo>
                  <a:lnTo>
                    <a:pt x="772" y="672"/>
                  </a:lnTo>
                  <a:lnTo>
                    <a:pt x="778" y="682"/>
                  </a:lnTo>
                  <a:lnTo>
                    <a:pt x="780" y="692"/>
                  </a:lnTo>
                  <a:lnTo>
                    <a:pt x="778" y="750"/>
                  </a:lnTo>
                  <a:lnTo>
                    <a:pt x="778" y="750"/>
                  </a:lnTo>
                  <a:lnTo>
                    <a:pt x="776" y="760"/>
                  </a:lnTo>
                  <a:lnTo>
                    <a:pt x="770" y="770"/>
                  </a:lnTo>
                  <a:lnTo>
                    <a:pt x="760" y="776"/>
                  </a:lnTo>
                  <a:lnTo>
                    <a:pt x="750" y="778"/>
                  </a:lnTo>
                  <a:lnTo>
                    <a:pt x="240" y="764"/>
                  </a:lnTo>
                  <a:lnTo>
                    <a:pt x="240" y="764"/>
                  </a:lnTo>
                  <a:lnTo>
                    <a:pt x="228" y="762"/>
                  </a:lnTo>
                  <a:lnTo>
                    <a:pt x="220" y="756"/>
                  </a:lnTo>
                  <a:lnTo>
                    <a:pt x="214" y="746"/>
                  </a:lnTo>
                  <a:lnTo>
                    <a:pt x="212" y="736"/>
                  </a:lnTo>
                  <a:lnTo>
                    <a:pt x="214" y="678"/>
                  </a:lnTo>
                  <a:close/>
                  <a:moveTo>
                    <a:pt x="750" y="1368"/>
                  </a:moveTo>
                  <a:lnTo>
                    <a:pt x="240" y="1386"/>
                  </a:lnTo>
                  <a:lnTo>
                    <a:pt x="240" y="1386"/>
                  </a:lnTo>
                  <a:lnTo>
                    <a:pt x="228" y="1384"/>
                  </a:lnTo>
                  <a:lnTo>
                    <a:pt x="220" y="1378"/>
                  </a:lnTo>
                  <a:lnTo>
                    <a:pt x="214" y="1370"/>
                  </a:lnTo>
                  <a:lnTo>
                    <a:pt x="212" y="1358"/>
                  </a:lnTo>
                  <a:lnTo>
                    <a:pt x="210" y="1300"/>
                  </a:lnTo>
                  <a:lnTo>
                    <a:pt x="210" y="1300"/>
                  </a:lnTo>
                  <a:lnTo>
                    <a:pt x="210" y="1290"/>
                  </a:lnTo>
                  <a:lnTo>
                    <a:pt x="216" y="1280"/>
                  </a:lnTo>
                  <a:lnTo>
                    <a:pt x="226" y="1274"/>
                  </a:lnTo>
                  <a:lnTo>
                    <a:pt x="236" y="1272"/>
                  </a:lnTo>
                  <a:lnTo>
                    <a:pt x="746" y="1254"/>
                  </a:lnTo>
                  <a:lnTo>
                    <a:pt x="746" y="1254"/>
                  </a:lnTo>
                  <a:lnTo>
                    <a:pt x="756" y="1256"/>
                  </a:lnTo>
                  <a:lnTo>
                    <a:pt x="766" y="1262"/>
                  </a:lnTo>
                  <a:lnTo>
                    <a:pt x="772" y="1270"/>
                  </a:lnTo>
                  <a:lnTo>
                    <a:pt x="774" y="1280"/>
                  </a:lnTo>
                  <a:lnTo>
                    <a:pt x="776" y="1338"/>
                  </a:lnTo>
                  <a:lnTo>
                    <a:pt x="776" y="1338"/>
                  </a:lnTo>
                  <a:lnTo>
                    <a:pt x="774" y="1350"/>
                  </a:lnTo>
                  <a:lnTo>
                    <a:pt x="770" y="1358"/>
                  </a:lnTo>
                  <a:lnTo>
                    <a:pt x="760" y="1364"/>
                  </a:lnTo>
                  <a:lnTo>
                    <a:pt x="750" y="1368"/>
                  </a:lnTo>
                  <a:lnTo>
                    <a:pt x="750" y="1368"/>
                  </a:lnTo>
                  <a:close/>
                  <a:moveTo>
                    <a:pt x="782" y="1044"/>
                  </a:moveTo>
                  <a:lnTo>
                    <a:pt x="782" y="1044"/>
                  </a:lnTo>
                  <a:lnTo>
                    <a:pt x="780" y="1056"/>
                  </a:lnTo>
                  <a:lnTo>
                    <a:pt x="774" y="1064"/>
                  </a:lnTo>
                  <a:lnTo>
                    <a:pt x="764" y="1070"/>
                  </a:lnTo>
                  <a:lnTo>
                    <a:pt x="754" y="1072"/>
                  </a:lnTo>
                  <a:lnTo>
                    <a:pt x="244" y="1072"/>
                  </a:lnTo>
                  <a:lnTo>
                    <a:pt x="244" y="1072"/>
                  </a:lnTo>
                  <a:lnTo>
                    <a:pt x="232" y="1070"/>
                  </a:lnTo>
                  <a:lnTo>
                    <a:pt x="224" y="1064"/>
                  </a:lnTo>
                  <a:lnTo>
                    <a:pt x="218" y="1056"/>
                  </a:lnTo>
                  <a:lnTo>
                    <a:pt x="216" y="1044"/>
                  </a:lnTo>
                  <a:lnTo>
                    <a:pt x="216" y="986"/>
                  </a:lnTo>
                  <a:lnTo>
                    <a:pt x="216" y="986"/>
                  </a:lnTo>
                  <a:lnTo>
                    <a:pt x="218" y="976"/>
                  </a:lnTo>
                  <a:lnTo>
                    <a:pt x="224" y="968"/>
                  </a:lnTo>
                  <a:lnTo>
                    <a:pt x="232" y="962"/>
                  </a:lnTo>
                  <a:lnTo>
                    <a:pt x="244" y="960"/>
                  </a:lnTo>
                  <a:lnTo>
                    <a:pt x="754" y="960"/>
                  </a:lnTo>
                  <a:lnTo>
                    <a:pt x="754" y="960"/>
                  </a:lnTo>
                  <a:lnTo>
                    <a:pt x="764" y="962"/>
                  </a:lnTo>
                  <a:lnTo>
                    <a:pt x="774" y="968"/>
                  </a:lnTo>
                  <a:lnTo>
                    <a:pt x="780" y="976"/>
                  </a:lnTo>
                  <a:lnTo>
                    <a:pt x="782" y="986"/>
                  </a:lnTo>
                  <a:lnTo>
                    <a:pt x="782" y="1044"/>
                  </a:lnTo>
                  <a:close/>
                  <a:moveTo>
                    <a:pt x="778" y="472"/>
                  </a:moveTo>
                  <a:lnTo>
                    <a:pt x="778" y="472"/>
                  </a:lnTo>
                  <a:lnTo>
                    <a:pt x="776" y="484"/>
                  </a:lnTo>
                  <a:lnTo>
                    <a:pt x="770" y="492"/>
                  </a:lnTo>
                  <a:lnTo>
                    <a:pt x="760" y="496"/>
                  </a:lnTo>
                  <a:lnTo>
                    <a:pt x="750" y="498"/>
                  </a:lnTo>
                  <a:lnTo>
                    <a:pt x="240" y="462"/>
                  </a:lnTo>
                  <a:lnTo>
                    <a:pt x="240" y="462"/>
                  </a:lnTo>
                  <a:lnTo>
                    <a:pt x="230" y="460"/>
                  </a:lnTo>
                  <a:lnTo>
                    <a:pt x="222" y="452"/>
                  </a:lnTo>
                  <a:lnTo>
                    <a:pt x="216" y="444"/>
                  </a:lnTo>
                  <a:lnTo>
                    <a:pt x="214" y="432"/>
                  </a:lnTo>
                  <a:lnTo>
                    <a:pt x="218" y="374"/>
                  </a:lnTo>
                  <a:lnTo>
                    <a:pt x="218" y="374"/>
                  </a:lnTo>
                  <a:lnTo>
                    <a:pt x="222" y="364"/>
                  </a:lnTo>
                  <a:lnTo>
                    <a:pt x="228" y="356"/>
                  </a:lnTo>
                  <a:lnTo>
                    <a:pt x="238" y="350"/>
                  </a:lnTo>
                  <a:lnTo>
                    <a:pt x="248" y="350"/>
                  </a:lnTo>
                  <a:lnTo>
                    <a:pt x="758" y="386"/>
                  </a:lnTo>
                  <a:lnTo>
                    <a:pt x="758" y="386"/>
                  </a:lnTo>
                  <a:lnTo>
                    <a:pt x="768" y="388"/>
                  </a:lnTo>
                  <a:lnTo>
                    <a:pt x="776" y="394"/>
                  </a:lnTo>
                  <a:lnTo>
                    <a:pt x="782" y="404"/>
                  </a:lnTo>
                  <a:lnTo>
                    <a:pt x="782" y="414"/>
                  </a:lnTo>
                  <a:lnTo>
                    <a:pt x="778" y="472"/>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2" name="Freeform 51"/>
            <p:cNvSpPr>
              <a:spLocks noEditPoints="1"/>
            </p:cNvSpPr>
            <p:nvPr/>
          </p:nvSpPr>
          <p:spPr bwMode="auto">
            <a:xfrm>
              <a:off x="10616735" y="2564018"/>
              <a:ext cx="254815" cy="534810"/>
            </a:xfrm>
            <a:custGeom>
              <a:avLst/>
              <a:gdLst>
                <a:gd name="T0" fmla="*/ 2 w 1012"/>
                <a:gd name="T1" fmla="*/ 2046 h 2124"/>
                <a:gd name="T2" fmla="*/ 2 w 1012"/>
                <a:gd name="T3" fmla="*/ 2056 h 2124"/>
                <a:gd name="T4" fmla="*/ 1010 w 1012"/>
                <a:gd name="T5" fmla="*/ 2122 h 2124"/>
                <a:gd name="T6" fmla="*/ 1012 w 1012"/>
                <a:gd name="T7" fmla="*/ 0 h 2124"/>
                <a:gd name="T8" fmla="*/ 2 w 1012"/>
                <a:gd name="T9" fmla="*/ 144 h 2124"/>
                <a:gd name="T10" fmla="*/ 802 w 1012"/>
                <a:gd name="T11" fmla="*/ 1358 h 2124"/>
                <a:gd name="T12" fmla="*/ 794 w 1012"/>
                <a:gd name="T13" fmla="*/ 1378 h 2124"/>
                <a:gd name="T14" fmla="*/ 774 w 1012"/>
                <a:gd name="T15" fmla="*/ 1386 h 2124"/>
                <a:gd name="T16" fmla="*/ 264 w 1012"/>
                <a:gd name="T17" fmla="*/ 1368 h 2124"/>
                <a:gd name="T18" fmla="*/ 244 w 1012"/>
                <a:gd name="T19" fmla="*/ 1358 h 2124"/>
                <a:gd name="T20" fmla="*/ 236 w 1012"/>
                <a:gd name="T21" fmla="*/ 1338 h 2124"/>
                <a:gd name="T22" fmla="*/ 238 w 1012"/>
                <a:gd name="T23" fmla="*/ 1280 h 2124"/>
                <a:gd name="T24" fmla="*/ 248 w 1012"/>
                <a:gd name="T25" fmla="*/ 1262 h 2124"/>
                <a:gd name="T26" fmla="*/ 268 w 1012"/>
                <a:gd name="T27" fmla="*/ 1254 h 2124"/>
                <a:gd name="T28" fmla="*/ 778 w 1012"/>
                <a:gd name="T29" fmla="*/ 1272 h 2124"/>
                <a:gd name="T30" fmla="*/ 796 w 1012"/>
                <a:gd name="T31" fmla="*/ 1280 h 2124"/>
                <a:gd name="T32" fmla="*/ 804 w 1012"/>
                <a:gd name="T33" fmla="*/ 1300 h 2124"/>
                <a:gd name="T34" fmla="*/ 232 w 1012"/>
                <a:gd name="T35" fmla="*/ 1044 h 2124"/>
                <a:gd name="T36" fmla="*/ 232 w 1012"/>
                <a:gd name="T37" fmla="*/ 986 h 2124"/>
                <a:gd name="T38" fmla="*/ 240 w 1012"/>
                <a:gd name="T39" fmla="*/ 968 h 2124"/>
                <a:gd name="T40" fmla="*/ 260 w 1012"/>
                <a:gd name="T41" fmla="*/ 960 h 2124"/>
                <a:gd name="T42" fmla="*/ 770 w 1012"/>
                <a:gd name="T43" fmla="*/ 960 h 2124"/>
                <a:gd name="T44" fmla="*/ 790 w 1012"/>
                <a:gd name="T45" fmla="*/ 968 h 2124"/>
                <a:gd name="T46" fmla="*/ 798 w 1012"/>
                <a:gd name="T47" fmla="*/ 986 h 2124"/>
                <a:gd name="T48" fmla="*/ 798 w 1012"/>
                <a:gd name="T49" fmla="*/ 1044 h 2124"/>
                <a:gd name="T50" fmla="*/ 790 w 1012"/>
                <a:gd name="T51" fmla="*/ 1064 h 2124"/>
                <a:gd name="T52" fmla="*/ 770 w 1012"/>
                <a:gd name="T53" fmla="*/ 1072 h 2124"/>
                <a:gd name="T54" fmla="*/ 260 w 1012"/>
                <a:gd name="T55" fmla="*/ 1072 h 2124"/>
                <a:gd name="T56" fmla="*/ 240 w 1012"/>
                <a:gd name="T57" fmla="*/ 1064 h 2124"/>
                <a:gd name="T58" fmla="*/ 232 w 1012"/>
                <a:gd name="T59" fmla="*/ 1044 h 2124"/>
                <a:gd name="T60" fmla="*/ 800 w 1012"/>
                <a:gd name="T61" fmla="*/ 736 h 2124"/>
                <a:gd name="T62" fmla="*/ 798 w 1012"/>
                <a:gd name="T63" fmla="*/ 746 h 2124"/>
                <a:gd name="T64" fmla="*/ 784 w 1012"/>
                <a:gd name="T65" fmla="*/ 762 h 2124"/>
                <a:gd name="T66" fmla="*/ 264 w 1012"/>
                <a:gd name="T67" fmla="*/ 778 h 2124"/>
                <a:gd name="T68" fmla="*/ 252 w 1012"/>
                <a:gd name="T69" fmla="*/ 776 h 2124"/>
                <a:gd name="T70" fmla="*/ 238 w 1012"/>
                <a:gd name="T71" fmla="*/ 762 h 2124"/>
                <a:gd name="T72" fmla="*/ 234 w 1012"/>
                <a:gd name="T73" fmla="*/ 692 h 2124"/>
                <a:gd name="T74" fmla="*/ 236 w 1012"/>
                <a:gd name="T75" fmla="*/ 682 h 2124"/>
                <a:gd name="T76" fmla="*/ 250 w 1012"/>
                <a:gd name="T77" fmla="*/ 666 h 2124"/>
                <a:gd name="T78" fmla="*/ 772 w 1012"/>
                <a:gd name="T79" fmla="*/ 650 h 2124"/>
                <a:gd name="T80" fmla="*/ 782 w 1012"/>
                <a:gd name="T81" fmla="*/ 652 h 2124"/>
                <a:gd name="T82" fmla="*/ 796 w 1012"/>
                <a:gd name="T83" fmla="*/ 666 h 2124"/>
                <a:gd name="T84" fmla="*/ 800 w 1012"/>
                <a:gd name="T85" fmla="*/ 736 h 2124"/>
                <a:gd name="T86" fmla="*/ 766 w 1012"/>
                <a:gd name="T87" fmla="*/ 350 h 2124"/>
                <a:gd name="T88" fmla="*/ 776 w 1012"/>
                <a:gd name="T89" fmla="*/ 350 h 2124"/>
                <a:gd name="T90" fmla="*/ 792 w 1012"/>
                <a:gd name="T91" fmla="*/ 364 h 2124"/>
                <a:gd name="T92" fmla="*/ 798 w 1012"/>
                <a:gd name="T93" fmla="*/ 432 h 2124"/>
                <a:gd name="T94" fmla="*/ 798 w 1012"/>
                <a:gd name="T95" fmla="*/ 444 h 2124"/>
                <a:gd name="T96" fmla="*/ 784 w 1012"/>
                <a:gd name="T97" fmla="*/ 460 h 2124"/>
                <a:gd name="T98" fmla="*/ 264 w 1012"/>
                <a:gd name="T99" fmla="*/ 498 h 2124"/>
                <a:gd name="T100" fmla="*/ 254 w 1012"/>
                <a:gd name="T101" fmla="*/ 498 h 2124"/>
                <a:gd name="T102" fmla="*/ 238 w 1012"/>
                <a:gd name="T103" fmla="*/ 484 h 2124"/>
                <a:gd name="T104" fmla="*/ 230 w 1012"/>
                <a:gd name="T105" fmla="*/ 416 h 2124"/>
                <a:gd name="T106" fmla="*/ 232 w 1012"/>
                <a:gd name="T107" fmla="*/ 404 h 2124"/>
                <a:gd name="T108" fmla="*/ 246 w 1012"/>
                <a:gd name="T109" fmla="*/ 388 h 2124"/>
                <a:gd name="T110" fmla="*/ 256 w 1012"/>
                <a:gd name="T111" fmla="*/ 386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12" h="2124">
                  <a:moveTo>
                    <a:pt x="2" y="144"/>
                  </a:moveTo>
                  <a:lnTo>
                    <a:pt x="2" y="2046"/>
                  </a:lnTo>
                  <a:lnTo>
                    <a:pt x="2" y="2046"/>
                  </a:lnTo>
                  <a:lnTo>
                    <a:pt x="2" y="2056"/>
                  </a:lnTo>
                  <a:lnTo>
                    <a:pt x="1010" y="2124"/>
                  </a:lnTo>
                  <a:lnTo>
                    <a:pt x="1010" y="2122"/>
                  </a:lnTo>
                  <a:lnTo>
                    <a:pt x="1012" y="2124"/>
                  </a:lnTo>
                  <a:lnTo>
                    <a:pt x="1012" y="0"/>
                  </a:lnTo>
                  <a:lnTo>
                    <a:pt x="0" y="110"/>
                  </a:lnTo>
                  <a:lnTo>
                    <a:pt x="2" y="144"/>
                  </a:lnTo>
                  <a:close/>
                  <a:moveTo>
                    <a:pt x="802" y="1358"/>
                  </a:moveTo>
                  <a:lnTo>
                    <a:pt x="802" y="1358"/>
                  </a:lnTo>
                  <a:lnTo>
                    <a:pt x="800" y="1370"/>
                  </a:lnTo>
                  <a:lnTo>
                    <a:pt x="794" y="1378"/>
                  </a:lnTo>
                  <a:lnTo>
                    <a:pt x="784" y="1384"/>
                  </a:lnTo>
                  <a:lnTo>
                    <a:pt x="774" y="1386"/>
                  </a:lnTo>
                  <a:lnTo>
                    <a:pt x="264" y="1368"/>
                  </a:lnTo>
                  <a:lnTo>
                    <a:pt x="264" y="1368"/>
                  </a:lnTo>
                  <a:lnTo>
                    <a:pt x="252" y="1364"/>
                  </a:lnTo>
                  <a:lnTo>
                    <a:pt x="244" y="1358"/>
                  </a:lnTo>
                  <a:lnTo>
                    <a:pt x="238" y="1350"/>
                  </a:lnTo>
                  <a:lnTo>
                    <a:pt x="236" y="1338"/>
                  </a:lnTo>
                  <a:lnTo>
                    <a:pt x="238" y="1280"/>
                  </a:lnTo>
                  <a:lnTo>
                    <a:pt x="238" y="1280"/>
                  </a:lnTo>
                  <a:lnTo>
                    <a:pt x="242" y="1270"/>
                  </a:lnTo>
                  <a:lnTo>
                    <a:pt x="248" y="1262"/>
                  </a:lnTo>
                  <a:lnTo>
                    <a:pt x="256" y="1256"/>
                  </a:lnTo>
                  <a:lnTo>
                    <a:pt x="268" y="1254"/>
                  </a:lnTo>
                  <a:lnTo>
                    <a:pt x="778" y="1272"/>
                  </a:lnTo>
                  <a:lnTo>
                    <a:pt x="778" y="1272"/>
                  </a:lnTo>
                  <a:lnTo>
                    <a:pt x="788" y="1274"/>
                  </a:lnTo>
                  <a:lnTo>
                    <a:pt x="796" y="1280"/>
                  </a:lnTo>
                  <a:lnTo>
                    <a:pt x="802" y="1290"/>
                  </a:lnTo>
                  <a:lnTo>
                    <a:pt x="804" y="1300"/>
                  </a:lnTo>
                  <a:lnTo>
                    <a:pt x="802" y="1358"/>
                  </a:lnTo>
                  <a:close/>
                  <a:moveTo>
                    <a:pt x="232" y="1044"/>
                  </a:moveTo>
                  <a:lnTo>
                    <a:pt x="232" y="986"/>
                  </a:lnTo>
                  <a:lnTo>
                    <a:pt x="232" y="986"/>
                  </a:lnTo>
                  <a:lnTo>
                    <a:pt x="234" y="976"/>
                  </a:lnTo>
                  <a:lnTo>
                    <a:pt x="240" y="968"/>
                  </a:lnTo>
                  <a:lnTo>
                    <a:pt x="248" y="962"/>
                  </a:lnTo>
                  <a:lnTo>
                    <a:pt x="260" y="960"/>
                  </a:lnTo>
                  <a:lnTo>
                    <a:pt x="770" y="960"/>
                  </a:lnTo>
                  <a:lnTo>
                    <a:pt x="770" y="960"/>
                  </a:lnTo>
                  <a:lnTo>
                    <a:pt x="780" y="962"/>
                  </a:lnTo>
                  <a:lnTo>
                    <a:pt x="790" y="968"/>
                  </a:lnTo>
                  <a:lnTo>
                    <a:pt x="796" y="976"/>
                  </a:lnTo>
                  <a:lnTo>
                    <a:pt x="798" y="986"/>
                  </a:lnTo>
                  <a:lnTo>
                    <a:pt x="798" y="1044"/>
                  </a:lnTo>
                  <a:lnTo>
                    <a:pt x="798" y="1044"/>
                  </a:lnTo>
                  <a:lnTo>
                    <a:pt x="796" y="1056"/>
                  </a:lnTo>
                  <a:lnTo>
                    <a:pt x="790" y="1064"/>
                  </a:lnTo>
                  <a:lnTo>
                    <a:pt x="780" y="1070"/>
                  </a:lnTo>
                  <a:lnTo>
                    <a:pt x="770" y="1072"/>
                  </a:lnTo>
                  <a:lnTo>
                    <a:pt x="260" y="1072"/>
                  </a:lnTo>
                  <a:lnTo>
                    <a:pt x="260" y="1072"/>
                  </a:lnTo>
                  <a:lnTo>
                    <a:pt x="248" y="1070"/>
                  </a:lnTo>
                  <a:lnTo>
                    <a:pt x="240" y="1064"/>
                  </a:lnTo>
                  <a:lnTo>
                    <a:pt x="234" y="1056"/>
                  </a:lnTo>
                  <a:lnTo>
                    <a:pt x="232" y="1044"/>
                  </a:lnTo>
                  <a:lnTo>
                    <a:pt x="232" y="1044"/>
                  </a:lnTo>
                  <a:close/>
                  <a:moveTo>
                    <a:pt x="800" y="736"/>
                  </a:moveTo>
                  <a:lnTo>
                    <a:pt x="800" y="736"/>
                  </a:lnTo>
                  <a:lnTo>
                    <a:pt x="798" y="746"/>
                  </a:lnTo>
                  <a:lnTo>
                    <a:pt x="794" y="756"/>
                  </a:lnTo>
                  <a:lnTo>
                    <a:pt x="784" y="762"/>
                  </a:lnTo>
                  <a:lnTo>
                    <a:pt x="774" y="764"/>
                  </a:lnTo>
                  <a:lnTo>
                    <a:pt x="264" y="778"/>
                  </a:lnTo>
                  <a:lnTo>
                    <a:pt x="264" y="778"/>
                  </a:lnTo>
                  <a:lnTo>
                    <a:pt x="252" y="776"/>
                  </a:lnTo>
                  <a:lnTo>
                    <a:pt x="244" y="770"/>
                  </a:lnTo>
                  <a:lnTo>
                    <a:pt x="238" y="762"/>
                  </a:lnTo>
                  <a:lnTo>
                    <a:pt x="236" y="750"/>
                  </a:lnTo>
                  <a:lnTo>
                    <a:pt x="234" y="692"/>
                  </a:lnTo>
                  <a:lnTo>
                    <a:pt x="234" y="692"/>
                  </a:lnTo>
                  <a:lnTo>
                    <a:pt x="236" y="682"/>
                  </a:lnTo>
                  <a:lnTo>
                    <a:pt x="242" y="672"/>
                  </a:lnTo>
                  <a:lnTo>
                    <a:pt x="250" y="666"/>
                  </a:lnTo>
                  <a:lnTo>
                    <a:pt x="260" y="664"/>
                  </a:lnTo>
                  <a:lnTo>
                    <a:pt x="772" y="650"/>
                  </a:lnTo>
                  <a:lnTo>
                    <a:pt x="772" y="650"/>
                  </a:lnTo>
                  <a:lnTo>
                    <a:pt x="782" y="652"/>
                  </a:lnTo>
                  <a:lnTo>
                    <a:pt x="790" y="658"/>
                  </a:lnTo>
                  <a:lnTo>
                    <a:pt x="796" y="666"/>
                  </a:lnTo>
                  <a:lnTo>
                    <a:pt x="800" y="678"/>
                  </a:lnTo>
                  <a:lnTo>
                    <a:pt x="800" y="736"/>
                  </a:lnTo>
                  <a:close/>
                  <a:moveTo>
                    <a:pt x="256" y="386"/>
                  </a:moveTo>
                  <a:lnTo>
                    <a:pt x="766" y="350"/>
                  </a:lnTo>
                  <a:lnTo>
                    <a:pt x="766" y="350"/>
                  </a:lnTo>
                  <a:lnTo>
                    <a:pt x="776" y="350"/>
                  </a:lnTo>
                  <a:lnTo>
                    <a:pt x="786" y="356"/>
                  </a:lnTo>
                  <a:lnTo>
                    <a:pt x="792" y="364"/>
                  </a:lnTo>
                  <a:lnTo>
                    <a:pt x="794" y="374"/>
                  </a:lnTo>
                  <a:lnTo>
                    <a:pt x="798" y="432"/>
                  </a:lnTo>
                  <a:lnTo>
                    <a:pt x="798" y="432"/>
                  </a:lnTo>
                  <a:lnTo>
                    <a:pt x="798" y="444"/>
                  </a:lnTo>
                  <a:lnTo>
                    <a:pt x="792" y="452"/>
                  </a:lnTo>
                  <a:lnTo>
                    <a:pt x="784" y="460"/>
                  </a:lnTo>
                  <a:lnTo>
                    <a:pt x="774" y="462"/>
                  </a:lnTo>
                  <a:lnTo>
                    <a:pt x="264" y="498"/>
                  </a:lnTo>
                  <a:lnTo>
                    <a:pt x="264" y="498"/>
                  </a:lnTo>
                  <a:lnTo>
                    <a:pt x="254" y="498"/>
                  </a:lnTo>
                  <a:lnTo>
                    <a:pt x="244" y="492"/>
                  </a:lnTo>
                  <a:lnTo>
                    <a:pt x="238" y="484"/>
                  </a:lnTo>
                  <a:lnTo>
                    <a:pt x="234" y="472"/>
                  </a:lnTo>
                  <a:lnTo>
                    <a:pt x="230" y="416"/>
                  </a:lnTo>
                  <a:lnTo>
                    <a:pt x="230" y="416"/>
                  </a:lnTo>
                  <a:lnTo>
                    <a:pt x="232" y="404"/>
                  </a:lnTo>
                  <a:lnTo>
                    <a:pt x="238" y="394"/>
                  </a:lnTo>
                  <a:lnTo>
                    <a:pt x="246" y="388"/>
                  </a:lnTo>
                  <a:lnTo>
                    <a:pt x="256" y="386"/>
                  </a:lnTo>
                  <a:lnTo>
                    <a:pt x="256" y="386"/>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grpSp>
      <p:sp>
        <p:nvSpPr>
          <p:cNvPr id="10" name="Freeform 47"/>
          <p:cNvSpPr>
            <a:spLocks/>
          </p:cNvSpPr>
          <p:nvPr/>
        </p:nvSpPr>
        <p:spPr bwMode="auto">
          <a:xfrm>
            <a:off x="8140223" y="2160986"/>
            <a:ext cx="2902399" cy="1774371"/>
          </a:xfrm>
          <a:custGeom>
            <a:avLst/>
            <a:gdLst>
              <a:gd name="T0" fmla="*/ 48 w 298"/>
              <a:gd name="T1" fmla="*/ 85 h 194"/>
              <a:gd name="T2" fmla="*/ 48 w 298"/>
              <a:gd name="T3" fmla="*/ 81 h 194"/>
              <a:gd name="T4" fmla="*/ 130 w 298"/>
              <a:gd name="T5" fmla="*/ 0 h 194"/>
              <a:gd name="T6" fmla="*/ 198 w 298"/>
              <a:gd name="T7" fmla="*/ 36 h 194"/>
              <a:gd name="T8" fmla="*/ 220 w 298"/>
              <a:gd name="T9" fmla="*/ 30 h 194"/>
              <a:gd name="T10" fmla="*/ 247 w 298"/>
              <a:gd name="T11" fmla="*/ 38 h 194"/>
              <a:gd name="T12" fmla="*/ 268 w 298"/>
              <a:gd name="T13" fmla="*/ 76 h 194"/>
              <a:gd name="T14" fmla="*/ 298 w 298"/>
              <a:gd name="T15" fmla="*/ 130 h 194"/>
              <a:gd name="T16" fmla="*/ 240 w 298"/>
              <a:gd name="T17" fmla="*/ 194 h 194"/>
              <a:gd name="T18" fmla="*/ 233 w 298"/>
              <a:gd name="T19" fmla="*/ 194 h 194"/>
              <a:gd name="T20" fmla="*/ 226 w 298"/>
              <a:gd name="T21" fmla="*/ 194 h 194"/>
              <a:gd name="T22" fmla="*/ 92 w 298"/>
              <a:gd name="T23" fmla="*/ 194 h 194"/>
              <a:gd name="T24" fmla="*/ 90 w 298"/>
              <a:gd name="T25" fmla="*/ 194 h 194"/>
              <a:gd name="T26" fmla="*/ 86 w 298"/>
              <a:gd name="T27" fmla="*/ 194 h 194"/>
              <a:gd name="T28" fmla="*/ 77 w 298"/>
              <a:gd name="T29" fmla="*/ 194 h 194"/>
              <a:gd name="T30" fmla="*/ 55 w 298"/>
              <a:gd name="T31" fmla="*/ 194 h 194"/>
              <a:gd name="T32" fmla="*/ 0 w 298"/>
              <a:gd name="T33" fmla="*/ 139 h 194"/>
              <a:gd name="T34" fmla="*/ 48 w 298"/>
              <a:gd name="T35" fmla="*/ 8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8" h="194">
                <a:moveTo>
                  <a:pt x="48" y="85"/>
                </a:moveTo>
                <a:cubicBezTo>
                  <a:pt x="48" y="84"/>
                  <a:pt x="48" y="82"/>
                  <a:pt x="48" y="81"/>
                </a:cubicBezTo>
                <a:cubicBezTo>
                  <a:pt x="48" y="36"/>
                  <a:pt x="84" y="0"/>
                  <a:pt x="130" y="0"/>
                </a:cubicBezTo>
                <a:cubicBezTo>
                  <a:pt x="158" y="0"/>
                  <a:pt x="183" y="14"/>
                  <a:pt x="198" y="36"/>
                </a:cubicBezTo>
                <a:cubicBezTo>
                  <a:pt x="205" y="32"/>
                  <a:pt x="212" y="30"/>
                  <a:pt x="220" y="30"/>
                </a:cubicBezTo>
                <a:cubicBezTo>
                  <a:pt x="230" y="30"/>
                  <a:pt x="239" y="33"/>
                  <a:pt x="247" y="38"/>
                </a:cubicBezTo>
                <a:cubicBezTo>
                  <a:pt x="259" y="46"/>
                  <a:pt x="268" y="60"/>
                  <a:pt x="268" y="76"/>
                </a:cubicBezTo>
                <a:cubicBezTo>
                  <a:pt x="286" y="88"/>
                  <a:pt x="298" y="108"/>
                  <a:pt x="298" y="130"/>
                </a:cubicBezTo>
                <a:cubicBezTo>
                  <a:pt x="298" y="163"/>
                  <a:pt x="272" y="191"/>
                  <a:pt x="240" y="194"/>
                </a:cubicBezTo>
                <a:cubicBezTo>
                  <a:pt x="238" y="194"/>
                  <a:pt x="235" y="194"/>
                  <a:pt x="233" y="194"/>
                </a:cubicBezTo>
                <a:cubicBezTo>
                  <a:pt x="231" y="194"/>
                  <a:pt x="229" y="194"/>
                  <a:pt x="226" y="194"/>
                </a:cubicBezTo>
                <a:cubicBezTo>
                  <a:pt x="196" y="194"/>
                  <a:pt x="126" y="194"/>
                  <a:pt x="92" y="194"/>
                </a:cubicBezTo>
                <a:cubicBezTo>
                  <a:pt x="91" y="194"/>
                  <a:pt x="91" y="194"/>
                  <a:pt x="90" y="194"/>
                </a:cubicBezTo>
                <a:cubicBezTo>
                  <a:pt x="86" y="194"/>
                  <a:pt x="86" y="194"/>
                  <a:pt x="86" y="194"/>
                </a:cubicBezTo>
                <a:cubicBezTo>
                  <a:pt x="85" y="194"/>
                  <a:pt x="80" y="194"/>
                  <a:pt x="77" y="194"/>
                </a:cubicBezTo>
                <a:cubicBezTo>
                  <a:pt x="55" y="194"/>
                  <a:pt x="55" y="194"/>
                  <a:pt x="55" y="194"/>
                </a:cubicBezTo>
                <a:cubicBezTo>
                  <a:pt x="25" y="194"/>
                  <a:pt x="0" y="169"/>
                  <a:pt x="0" y="139"/>
                </a:cubicBezTo>
                <a:cubicBezTo>
                  <a:pt x="0" y="112"/>
                  <a:pt x="21" y="89"/>
                  <a:pt x="48" y="85"/>
                </a:cubicBezTo>
                <a:close/>
              </a:path>
            </a:pathLst>
          </a:custGeom>
          <a:solidFill>
            <a:schemeClr val="bg1"/>
          </a:solidFill>
          <a:ln w="38100">
            <a:solidFill>
              <a:schemeClr val="tx2"/>
            </a:solidFill>
          </a:ln>
          <a:effectLst>
            <a:outerShdw blurRad="1270000" sx="102000" sy="102000" algn="ctr" rotWithShape="0">
              <a:schemeClr val="bg1"/>
            </a:outerShdw>
          </a:effectLs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grpSp>
        <p:nvGrpSpPr>
          <p:cNvPr id="12" name="Group 48"/>
          <p:cNvGrpSpPr>
            <a:grpSpLocks noChangeAspect="1"/>
          </p:cNvGrpSpPr>
          <p:nvPr/>
        </p:nvGrpSpPr>
        <p:grpSpPr bwMode="auto">
          <a:xfrm>
            <a:off x="9730944" y="3135755"/>
            <a:ext cx="787107" cy="534810"/>
            <a:chOff x="2560" y="1381"/>
            <a:chExt cx="3126" cy="2124"/>
          </a:xfrm>
          <a:solidFill>
            <a:schemeClr val="tx2"/>
          </a:solidFill>
        </p:grpSpPr>
        <p:sp>
          <p:nvSpPr>
            <p:cNvPr id="13" name="Freeform 49"/>
            <p:cNvSpPr>
              <a:spLocks noEditPoints="1"/>
            </p:cNvSpPr>
            <p:nvPr/>
          </p:nvSpPr>
          <p:spPr bwMode="auto">
            <a:xfrm>
              <a:off x="3646" y="1381"/>
              <a:ext cx="966" cy="2124"/>
            </a:xfrm>
            <a:custGeom>
              <a:avLst/>
              <a:gdLst>
                <a:gd name="T0" fmla="*/ 964 w 966"/>
                <a:gd name="T1" fmla="*/ 244 h 2124"/>
                <a:gd name="T2" fmla="*/ 964 w 966"/>
                <a:gd name="T3" fmla="*/ 18 h 2124"/>
                <a:gd name="T4" fmla="*/ 100 w 966"/>
                <a:gd name="T5" fmla="*/ 0 h 2124"/>
                <a:gd name="T6" fmla="*/ 0 w 966"/>
                <a:gd name="T7" fmla="*/ 244 h 2124"/>
                <a:gd name="T8" fmla="*/ 0 w 966"/>
                <a:gd name="T9" fmla="*/ 2106 h 2124"/>
                <a:gd name="T10" fmla="*/ 864 w 966"/>
                <a:gd name="T11" fmla="*/ 2124 h 2124"/>
                <a:gd name="T12" fmla="*/ 966 w 966"/>
                <a:gd name="T13" fmla="*/ 2124 h 2124"/>
                <a:gd name="T14" fmla="*/ 966 w 966"/>
                <a:gd name="T15" fmla="*/ 2014 h 2124"/>
                <a:gd name="T16" fmla="*/ 966 w 966"/>
                <a:gd name="T17" fmla="*/ 1880 h 2124"/>
                <a:gd name="T18" fmla="*/ 964 w 966"/>
                <a:gd name="T19" fmla="*/ 1880 h 2124"/>
                <a:gd name="T20" fmla="*/ 964 w 966"/>
                <a:gd name="T21" fmla="*/ 244 h 2124"/>
                <a:gd name="T22" fmla="*/ 190 w 966"/>
                <a:gd name="T23" fmla="*/ 998 h 2124"/>
                <a:gd name="T24" fmla="*/ 198 w 966"/>
                <a:gd name="T25" fmla="*/ 978 h 2124"/>
                <a:gd name="T26" fmla="*/ 218 w 966"/>
                <a:gd name="T27" fmla="*/ 968 h 2124"/>
                <a:gd name="T28" fmla="*/ 748 w 966"/>
                <a:gd name="T29" fmla="*/ 968 h 2124"/>
                <a:gd name="T30" fmla="*/ 768 w 966"/>
                <a:gd name="T31" fmla="*/ 978 h 2124"/>
                <a:gd name="T32" fmla="*/ 776 w 966"/>
                <a:gd name="T33" fmla="*/ 998 h 2124"/>
                <a:gd name="T34" fmla="*/ 776 w 966"/>
                <a:gd name="T35" fmla="*/ 1058 h 2124"/>
                <a:gd name="T36" fmla="*/ 768 w 966"/>
                <a:gd name="T37" fmla="*/ 1078 h 2124"/>
                <a:gd name="T38" fmla="*/ 748 w 966"/>
                <a:gd name="T39" fmla="*/ 1086 h 2124"/>
                <a:gd name="T40" fmla="*/ 218 w 966"/>
                <a:gd name="T41" fmla="*/ 1086 h 2124"/>
                <a:gd name="T42" fmla="*/ 198 w 966"/>
                <a:gd name="T43" fmla="*/ 1078 h 2124"/>
                <a:gd name="T44" fmla="*/ 190 w 966"/>
                <a:gd name="T45" fmla="*/ 1058 h 2124"/>
                <a:gd name="T46" fmla="*/ 782 w 966"/>
                <a:gd name="T47" fmla="*/ 1374 h 2124"/>
                <a:gd name="T48" fmla="*/ 780 w 966"/>
                <a:gd name="T49" fmla="*/ 1384 h 2124"/>
                <a:gd name="T50" fmla="*/ 766 w 966"/>
                <a:gd name="T51" fmla="*/ 1400 h 2124"/>
                <a:gd name="T52" fmla="*/ 224 w 966"/>
                <a:gd name="T53" fmla="*/ 1402 h 2124"/>
                <a:gd name="T54" fmla="*/ 214 w 966"/>
                <a:gd name="T55" fmla="*/ 1400 h 2124"/>
                <a:gd name="T56" fmla="*/ 198 w 966"/>
                <a:gd name="T57" fmla="*/ 1384 h 2124"/>
                <a:gd name="T58" fmla="*/ 196 w 966"/>
                <a:gd name="T59" fmla="*/ 1312 h 2124"/>
                <a:gd name="T60" fmla="*/ 198 w 966"/>
                <a:gd name="T61" fmla="*/ 1302 h 2124"/>
                <a:gd name="T62" fmla="*/ 214 w 966"/>
                <a:gd name="T63" fmla="*/ 1286 h 2124"/>
                <a:gd name="T64" fmla="*/ 754 w 966"/>
                <a:gd name="T65" fmla="*/ 1284 h 2124"/>
                <a:gd name="T66" fmla="*/ 766 w 966"/>
                <a:gd name="T67" fmla="*/ 1286 h 2124"/>
                <a:gd name="T68" fmla="*/ 780 w 966"/>
                <a:gd name="T69" fmla="*/ 1302 h 2124"/>
                <a:gd name="T70" fmla="*/ 782 w 966"/>
                <a:gd name="T71" fmla="*/ 1374 h 2124"/>
                <a:gd name="T72" fmla="*/ 782 w 966"/>
                <a:gd name="T73" fmla="*/ 744 h 2124"/>
                <a:gd name="T74" fmla="*/ 774 w 966"/>
                <a:gd name="T75" fmla="*/ 764 h 2124"/>
                <a:gd name="T76" fmla="*/ 754 w 966"/>
                <a:gd name="T77" fmla="*/ 774 h 2124"/>
                <a:gd name="T78" fmla="*/ 224 w 966"/>
                <a:gd name="T79" fmla="*/ 774 h 2124"/>
                <a:gd name="T80" fmla="*/ 204 w 966"/>
                <a:gd name="T81" fmla="*/ 764 h 2124"/>
                <a:gd name="T82" fmla="*/ 196 w 966"/>
                <a:gd name="T83" fmla="*/ 744 h 2124"/>
                <a:gd name="T84" fmla="*/ 196 w 966"/>
                <a:gd name="T85" fmla="*/ 684 h 2124"/>
                <a:gd name="T86" fmla="*/ 204 w 966"/>
                <a:gd name="T87" fmla="*/ 664 h 2124"/>
                <a:gd name="T88" fmla="*/ 224 w 966"/>
                <a:gd name="T89" fmla="*/ 656 h 2124"/>
                <a:gd name="T90" fmla="*/ 754 w 966"/>
                <a:gd name="T91" fmla="*/ 656 h 2124"/>
                <a:gd name="T92" fmla="*/ 774 w 966"/>
                <a:gd name="T93" fmla="*/ 664 h 2124"/>
                <a:gd name="T94" fmla="*/ 782 w 966"/>
                <a:gd name="T95" fmla="*/ 684 h 2124"/>
                <a:gd name="T96" fmla="*/ 782 w 966"/>
                <a:gd name="T97" fmla="*/ 444 h 2124"/>
                <a:gd name="T98" fmla="*/ 780 w 966"/>
                <a:gd name="T99" fmla="*/ 454 h 2124"/>
                <a:gd name="T100" fmla="*/ 766 w 966"/>
                <a:gd name="T101" fmla="*/ 470 h 2124"/>
                <a:gd name="T102" fmla="*/ 224 w 966"/>
                <a:gd name="T103" fmla="*/ 472 h 2124"/>
                <a:gd name="T104" fmla="*/ 214 w 966"/>
                <a:gd name="T105" fmla="*/ 470 h 2124"/>
                <a:gd name="T106" fmla="*/ 198 w 966"/>
                <a:gd name="T107" fmla="*/ 454 h 2124"/>
                <a:gd name="T108" fmla="*/ 196 w 966"/>
                <a:gd name="T109" fmla="*/ 384 h 2124"/>
                <a:gd name="T110" fmla="*/ 198 w 966"/>
                <a:gd name="T111" fmla="*/ 372 h 2124"/>
                <a:gd name="T112" fmla="*/ 214 w 966"/>
                <a:gd name="T113" fmla="*/ 356 h 2124"/>
                <a:gd name="T114" fmla="*/ 754 w 966"/>
                <a:gd name="T115" fmla="*/ 354 h 2124"/>
                <a:gd name="T116" fmla="*/ 766 w 966"/>
                <a:gd name="T117" fmla="*/ 356 h 2124"/>
                <a:gd name="T118" fmla="*/ 780 w 966"/>
                <a:gd name="T119" fmla="*/ 372 h 2124"/>
                <a:gd name="T120" fmla="*/ 782 w 966"/>
                <a:gd name="T121" fmla="*/ 444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66" h="2124">
                  <a:moveTo>
                    <a:pt x="964" y="244"/>
                  </a:moveTo>
                  <a:lnTo>
                    <a:pt x="964" y="244"/>
                  </a:lnTo>
                  <a:lnTo>
                    <a:pt x="964" y="220"/>
                  </a:lnTo>
                  <a:lnTo>
                    <a:pt x="964" y="18"/>
                  </a:lnTo>
                  <a:lnTo>
                    <a:pt x="964" y="0"/>
                  </a:lnTo>
                  <a:lnTo>
                    <a:pt x="100" y="0"/>
                  </a:lnTo>
                  <a:lnTo>
                    <a:pt x="0" y="0"/>
                  </a:lnTo>
                  <a:lnTo>
                    <a:pt x="0" y="244"/>
                  </a:lnTo>
                  <a:lnTo>
                    <a:pt x="0" y="2106"/>
                  </a:lnTo>
                  <a:lnTo>
                    <a:pt x="0" y="2106"/>
                  </a:lnTo>
                  <a:lnTo>
                    <a:pt x="0" y="2124"/>
                  </a:lnTo>
                  <a:lnTo>
                    <a:pt x="864" y="2124"/>
                  </a:lnTo>
                  <a:lnTo>
                    <a:pt x="964" y="2124"/>
                  </a:lnTo>
                  <a:lnTo>
                    <a:pt x="966" y="2124"/>
                  </a:lnTo>
                  <a:lnTo>
                    <a:pt x="966" y="2014"/>
                  </a:lnTo>
                  <a:lnTo>
                    <a:pt x="966" y="2014"/>
                  </a:lnTo>
                  <a:lnTo>
                    <a:pt x="966" y="2006"/>
                  </a:lnTo>
                  <a:lnTo>
                    <a:pt x="966" y="1880"/>
                  </a:lnTo>
                  <a:lnTo>
                    <a:pt x="964" y="1880"/>
                  </a:lnTo>
                  <a:lnTo>
                    <a:pt x="964" y="1880"/>
                  </a:lnTo>
                  <a:lnTo>
                    <a:pt x="964" y="244"/>
                  </a:lnTo>
                  <a:lnTo>
                    <a:pt x="964" y="244"/>
                  </a:lnTo>
                  <a:close/>
                  <a:moveTo>
                    <a:pt x="190" y="998"/>
                  </a:moveTo>
                  <a:lnTo>
                    <a:pt x="190" y="998"/>
                  </a:lnTo>
                  <a:lnTo>
                    <a:pt x="192" y="986"/>
                  </a:lnTo>
                  <a:lnTo>
                    <a:pt x="198" y="978"/>
                  </a:lnTo>
                  <a:lnTo>
                    <a:pt x="208" y="972"/>
                  </a:lnTo>
                  <a:lnTo>
                    <a:pt x="218" y="968"/>
                  </a:lnTo>
                  <a:lnTo>
                    <a:pt x="748" y="968"/>
                  </a:lnTo>
                  <a:lnTo>
                    <a:pt x="748" y="968"/>
                  </a:lnTo>
                  <a:lnTo>
                    <a:pt x="760" y="972"/>
                  </a:lnTo>
                  <a:lnTo>
                    <a:pt x="768" y="978"/>
                  </a:lnTo>
                  <a:lnTo>
                    <a:pt x="774" y="986"/>
                  </a:lnTo>
                  <a:lnTo>
                    <a:pt x="776" y="998"/>
                  </a:lnTo>
                  <a:lnTo>
                    <a:pt x="776" y="1058"/>
                  </a:lnTo>
                  <a:lnTo>
                    <a:pt x="776" y="1058"/>
                  </a:lnTo>
                  <a:lnTo>
                    <a:pt x="774" y="1068"/>
                  </a:lnTo>
                  <a:lnTo>
                    <a:pt x="768" y="1078"/>
                  </a:lnTo>
                  <a:lnTo>
                    <a:pt x="760" y="1084"/>
                  </a:lnTo>
                  <a:lnTo>
                    <a:pt x="748" y="1086"/>
                  </a:lnTo>
                  <a:lnTo>
                    <a:pt x="218" y="1086"/>
                  </a:lnTo>
                  <a:lnTo>
                    <a:pt x="218" y="1086"/>
                  </a:lnTo>
                  <a:lnTo>
                    <a:pt x="208" y="1084"/>
                  </a:lnTo>
                  <a:lnTo>
                    <a:pt x="198" y="1078"/>
                  </a:lnTo>
                  <a:lnTo>
                    <a:pt x="192" y="1068"/>
                  </a:lnTo>
                  <a:lnTo>
                    <a:pt x="190" y="1058"/>
                  </a:lnTo>
                  <a:lnTo>
                    <a:pt x="190" y="998"/>
                  </a:lnTo>
                  <a:close/>
                  <a:moveTo>
                    <a:pt x="782" y="1374"/>
                  </a:moveTo>
                  <a:lnTo>
                    <a:pt x="782" y="1374"/>
                  </a:lnTo>
                  <a:lnTo>
                    <a:pt x="780" y="1384"/>
                  </a:lnTo>
                  <a:lnTo>
                    <a:pt x="774" y="1394"/>
                  </a:lnTo>
                  <a:lnTo>
                    <a:pt x="766" y="1400"/>
                  </a:lnTo>
                  <a:lnTo>
                    <a:pt x="754" y="1402"/>
                  </a:lnTo>
                  <a:lnTo>
                    <a:pt x="224" y="1402"/>
                  </a:lnTo>
                  <a:lnTo>
                    <a:pt x="224" y="1402"/>
                  </a:lnTo>
                  <a:lnTo>
                    <a:pt x="214" y="1400"/>
                  </a:lnTo>
                  <a:lnTo>
                    <a:pt x="204" y="1394"/>
                  </a:lnTo>
                  <a:lnTo>
                    <a:pt x="198" y="1384"/>
                  </a:lnTo>
                  <a:lnTo>
                    <a:pt x="196" y="1374"/>
                  </a:lnTo>
                  <a:lnTo>
                    <a:pt x="196" y="1312"/>
                  </a:lnTo>
                  <a:lnTo>
                    <a:pt x="196" y="1312"/>
                  </a:lnTo>
                  <a:lnTo>
                    <a:pt x="198" y="1302"/>
                  </a:lnTo>
                  <a:lnTo>
                    <a:pt x="204" y="1292"/>
                  </a:lnTo>
                  <a:lnTo>
                    <a:pt x="214" y="1286"/>
                  </a:lnTo>
                  <a:lnTo>
                    <a:pt x="224" y="1284"/>
                  </a:lnTo>
                  <a:lnTo>
                    <a:pt x="754" y="1284"/>
                  </a:lnTo>
                  <a:lnTo>
                    <a:pt x="754" y="1284"/>
                  </a:lnTo>
                  <a:lnTo>
                    <a:pt x="766" y="1286"/>
                  </a:lnTo>
                  <a:lnTo>
                    <a:pt x="774" y="1292"/>
                  </a:lnTo>
                  <a:lnTo>
                    <a:pt x="780" y="1302"/>
                  </a:lnTo>
                  <a:lnTo>
                    <a:pt x="782" y="1312"/>
                  </a:lnTo>
                  <a:lnTo>
                    <a:pt x="782" y="1374"/>
                  </a:lnTo>
                  <a:close/>
                  <a:moveTo>
                    <a:pt x="782" y="744"/>
                  </a:moveTo>
                  <a:lnTo>
                    <a:pt x="782" y="744"/>
                  </a:lnTo>
                  <a:lnTo>
                    <a:pt x="780" y="756"/>
                  </a:lnTo>
                  <a:lnTo>
                    <a:pt x="774" y="764"/>
                  </a:lnTo>
                  <a:lnTo>
                    <a:pt x="766" y="772"/>
                  </a:lnTo>
                  <a:lnTo>
                    <a:pt x="754" y="774"/>
                  </a:lnTo>
                  <a:lnTo>
                    <a:pt x="224" y="774"/>
                  </a:lnTo>
                  <a:lnTo>
                    <a:pt x="224" y="774"/>
                  </a:lnTo>
                  <a:lnTo>
                    <a:pt x="214" y="772"/>
                  </a:lnTo>
                  <a:lnTo>
                    <a:pt x="204" y="764"/>
                  </a:lnTo>
                  <a:lnTo>
                    <a:pt x="198" y="756"/>
                  </a:lnTo>
                  <a:lnTo>
                    <a:pt x="196" y="744"/>
                  </a:lnTo>
                  <a:lnTo>
                    <a:pt x="196" y="684"/>
                  </a:lnTo>
                  <a:lnTo>
                    <a:pt x="196" y="684"/>
                  </a:lnTo>
                  <a:lnTo>
                    <a:pt x="198" y="674"/>
                  </a:lnTo>
                  <a:lnTo>
                    <a:pt x="204" y="664"/>
                  </a:lnTo>
                  <a:lnTo>
                    <a:pt x="214" y="658"/>
                  </a:lnTo>
                  <a:lnTo>
                    <a:pt x="224" y="656"/>
                  </a:lnTo>
                  <a:lnTo>
                    <a:pt x="754" y="656"/>
                  </a:lnTo>
                  <a:lnTo>
                    <a:pt x="754" y="656"/>
                  </a:lnTo>
                  <a:lnTo>
                    <a:pt x="766" y="658"/>
                  </a:lnTo>
                  <a:lnTo>
                    <a:pt x="774" y="664"/>
                  </a:lnTo>
                  <a:lnTo>
                    <a:pt x="780" y="674"/>
                  </a:lnTo>
                  <a:lnTo>
                    <a:pt x="782" y="684"/>
                  </a:lnTo>
                  <a:lnTo>
                    <a:pt x="782" y="744"/>
                  </a:lnTo>
                  <a:close/>
                  <a:moveTo>
                    <a:pt x="782" y="444"/>
                  </a:moveTo>
                  <a:lnTo>
                    <a:pt x="782" y="444"/>
                  </a:lnTo>
                  <a:lnTo>
                    <a:pt x="780" y="454"/>
                  </a:lnTo>
                  <a:lnTo>
                    <a:pt x="774" y="464"/>
                  </a:lnTo>
                  <a:lnTo>
                    <a:pt x="766" y="470"/>
                  </a:lnTo>
                  <a:lnTo>
                    <a:pt x="754" y="472"/>
                  </a:lnTo>
                  <a:lnTo>
                    <a:pt x="224" y="472"/>
                  </a:lnTo>
                  <a:lnTo>
                    <a:pt x="224" y="472"/>
                  </a:lnTo>
                  <a:lnTo>
                    <a:pt x="214" y="470"/>
                  </a:lnTo>
                  <a:lnTo>
                    <a:pt x="204" y="464"/>
                  </a:lnTo>
                  <a:lnTo>
                    <a:pt x="198" y="454"/>
                  </a:lnTo>
                  <a:lnTo>
                    <a:pt x="196" y="444"/>
                  </a:lnTo>
                  <a:lnTo>
                    <a:pt x="196" y="384"/>
                  </a:lnTo>
                  <a:lnTo>
                    <a:pt x="196" y="384"/>
                  </a:lnTo>
                  <a:lnTo>
                    <a:pt x="198" y="372"/>
                  </a:lnTo>
                  <a:lnTo>
                    <a:pt x="204" y="364"/>
                  </a:lnTo>
                  <a:lnTo>
                    <a:pt x="214" y="356"/>
                  </a:lnTo>
                  <a:lnTo>
                    <a:pt x="224" y="354"/>
                  </a:lnTo>
                  <a:lnTo>
                    <a:pt x="754" y="354"/>
                  </a:lnTo>
                  <a:lnTo>
                    <a:pt x="754" y="354"/>
                  </a:lnTo>
                  <a:lnTo>
                    <a:pt x="766" y="356"/>
                  </a:lnTo>
                  <a:lnTo>
                    <a:pt x="774" y="364"/>
                  </a:lnTo>
                  <a:lnTo>
                    <a:pt x="780" y="372"/>
                  </a:lnTo>
                  <a:lnTo>
                    <a:pt x="782" y="384"/>
                  </a:lnTo>
                  <a:lnTo>
                    <a:pt x="782" y="444"/>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4" name="Freeform 50"/>
            <p:cNvSpPr>
              <a:spLocks noEditPoints="1"/>
            </p:cNvSpPr>
            <p:nvPr/>
          </p:nvSpPr>
          <p:spPr bwMode="auto">
            <a:xfrm>
              <a:off x="4674" y="1381"/>
              <a:ext cx="1012" cy="2124"/>
            </a:xfrm>
            <a:custGeom>
              <a:avLst/>
              <a:gdLst>
                <a:gd name="T0" fmla="*/ 0 w 1012"/>
                <a:gd name="T1" fmla="*/ 2124 h 2124"/>
                <a:gd name="T2" fmla="*/ 4 w 1012"/>
                <a:gd name="T3" fmla="*/ 2124 h 2124"/>
                <a:gd name="T4" fmla="*/ 1010 w 1012"/>
                <a:gd name="T5" fmla="*/ 2048 h 2124"/>
                <a:gd name="T6" fmla="*/ 1012 w 1012"/>
                <a:gd name="T7" fmla="*/ 144 h 2124"/>
                <a:gd name="T8" fmla="*/ 0 w 1012"/>
                <a:gd name="T9" fmla="*/ 0 h 2124"/>
                <a:gd name="T10" fmla="*/ 214 w 1012"/>
                <a:gd name="T11" fmla="*/ 678 h 2124"/>
                <a:gd name="T12" fmla="*/ 222 w 1012"/>
                <a:gd name="T13" fmla="*/ 658 h 2124"/>
                <a:gd name="T14" fmla="*/ 242 w 1012"/>
                <a:gd name="T15" fmla="*/ 650 h 2124"/>
                <a:gd name="T16" fmla="*/ 752 w 1012"/>
                <a:gd name="T17" fmla="*/ 664 h 2124"/>
                <a:gd name="T18" fmla="*/ 772 w 1012"/>
                <a:gd name="T19" fmla="*/ 672 h 2124"/>
                <a:gd name="T20" fmla="*/ 780 w 1012"/>
                <a:gd name="T21" fmla="*/ 692 h 2124"/>
                <a:gd name="T22" fmla="*/ 778 w 1012"/>
                <a:gd name="T23" fmla="*/ 750 h 2124"/>
                <a:gd name="T24" fmla="*/ 770 w 1012"/>
                <a:gd name="T25" fmla="*/ 770 h 2124"/>
                <a:gd name="T26" fmla="*/ 750 w 1012"/>
                <a:gd name="T27" fmla="*/ 778 h 2124"/>
                <a:gd name="T28" fmla="*/ 240 w 1012"/>
                <a:gd name="T29" fmla="*/ 764 h 2124"/>
                <a:gd name="T30" fmla="*/ 220 w 1012"/>
                <a:gd name="T31" fmla="*/ 756 h 2124"/>
                <a:gd name="T32" fmla="*/ 212 w 1012"/>
                <a:gd name="T33" fmla="*/ 736 h 2124"/>
                <a:gd name="T34" fmla="*/ 750 w 1012"/>
                <a:gd name="T35" fmla="*/ 1368 h 2124"/>
                <a:gd name="T36" fmla="*/ 240 w 1012"/>
                <a:gd name="T37" fmla="*/ 1386 h 2124"/>
                <a:gd name="T38" fmla="*/ 220 w 1012"/>
                <a:gd name="T39" fmla="*/ 1378 h 2124"/>
                <a:gd name="T40" fmla="*/ 212 w 1012"/>
                <a:gd name="T41" fmla="*/ 1358 h 2124"/>
                <a:gd name="T42" fmla="*/ 210 w 1012"/>
                <a:gd name="T43" fmla="*/ 1300 h 2124"/>
                <a:gd name="T44" fmla="*/ 216 w 1012"/>
                <a:gd name="T45" fmla="*/ 1280 h 2124"/>
                <a:gd name="T46" fmla="*/ 236 w 1012"/>
                <a:gd name="T47" fmla="*/ 1272 h 2124"/>
                <a:gd name="T48" fmla="*/ 746 w 1012"/>
                <a:gd name="T49" fmla="*/ 1254 h 2124"/>
                <a:gd name="T50" fmla="*/ 766 w 1012"/>
                <a:gd name="T51" fmla="*/ 1262 h 2124"/>
                <a:gd name="T52" fmla="*/ 774 w 1012"/>
                <a:gd name="T53" fmla="*/ 1280 h 2124"/>
                <a:gd name="T54" fmla="*/ 776 w 1012"/>
                <a:gd name="T55" fmla="*/ 1338 h 2124"/>
                <a:gd name="T56" fmla="*/ 770 w 1012"/>
                <a:gd name="T57" fmla="*/ 1358 h 2124"/>
                <a:gd name="T58" fmla="*/ 750 w 1012"/>
                <a:gd name="T59" fmla="*/ 1368 h 2124"/>
                <a:gd name="T60" fmla="*/ 782 w 1012"/>
                <a:gd name="T61" fmla="*/ 1044 h 2124"/>
                <a:gd name="T62" fmla="*/ 780 w 1012"/>
                <a:gd name="T63" fmla="*/ 1056 h 2124"/>
                <a:gd name="T64" fmla="*/ 764 w 1012"/>
                <a:gd name="T65" fmla="*/ 1070 h 2124"/>
                <a:gd name="T66" fmla="*/ 244 w 1012"/>
                <a:gd name="T67" fmla="*/ 1072 h 2124"/>
                <a:gd name="T68" fmla="*/ 232 w 1012"/>
                <a:gd name="T69" fmla="*/ 1070 h 2124"/>
                <a:gd name="T70" fmla="*/ 218 w 1012"/>
                <a:gd name="T71" fmla="*/ 1056 h 2124"/>
                <a:gd name="T72" fmla="*/ 216 w 1012"/>
                <a:gd name="T73" fmla="*/ 986 h 2124"/>
                <a:gd name="T74" fmla="*/ 218 w 1012"/>
                <a:gd name="T75" fmla="*/ 976 h 2124"/>
                <a:gd name="T76" fmla="*/ 232 w 1012"/>
                <a:gd name="T77" fmla="*/ 962 h 2124"/>
                <a:gd name="T78" fmla="*/ 754 w 1012"/>
                <a:gd name="T79" fmla="*/ 960 h 2124"/>
                <a:gd name="T80" fmla="*/ 764 w 1012"/>
                <a:gd name="T81" fmla="*/ 962 h 2124"/>
                <a:gd name="T82" fmla="*/ 780 w 1012"/>
                <a:gd name="T83" fmla="*/ 976 h 2124"/>
                <a:gd name="T84" fmla="*/ 782 w 1012"/>
                <a:gd name="T85" fmla="*/ 1044 h 2124"/>
                <a:gd name="T86" fmla="*/ 778 w 1012"/>
                <a:gd name="T87" fmla="*/ 472 h 2124"/>
                <a:gd name="T88" fmla="*/ 770 w 1012"/>
                <a:gd name="T89" fmla="*/ 492 h 2124"/>
                <a:gd name="T90" fmla="*/ 750 w 1012"/>
                <a:gd name="T91" fmla="*/ 498 h 2124"/>
                <a:gd name="T92" fmla="*/ 240 w 1012"/>
                <a:gd name="T93" fmla="*/ 462 h 2124"/>
                <a:gd name="T94" fmla="*/ 222 w 1012"/>
                <a:gd name="T95" fmla="*/ 452 h 2124"/>
                <a:gd name="T96" fmla="*/ 214 w 1012"/>
                <a:gd name="T97" fmla="*/ 432 h 2124"/>
                <a:gd name="T98" fmla="*/ 218 w 1012"/>
                <a:gd name="T99" fmla="*/ 374 h 2124"/>
                <a:gd name="T100" fmla="*/ 228 w 1012"/>
                <a:gd name="T101" fmla="*/ 356 h 2124"/>
                <a:gd name="T102" fmla="*/ 248 w 1012"/>
                <a:gd name="T103" fmla="*/ 350 h 2124"/>
                <a:gd name="T104" fmla="*/ 758 w 1012"/>
                <a:gd name="T105" fmla="*/ 386 h 2124"/>
                <a:gd name="T106" fmla="*/ 776 w 1012"/>
                <a:gd name="T107" fmla="*/ 394 h 2124"/>
                <a:gd name="T108" fmla="*/ 782 w 1012"/>
                <a:gd name="T109" fmla="*/ 414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12" h="2124">
                  <a:moveTo>
                    <a:pt x="0" y="0"/>
                  </a:moveTo>
                  <a:lnTo>
                    <a:pt x="0" y="2124"/>
                  </a:lnTo>
                  <a:lnTo>
                    <a:pt x="4" y="2122"/>
                  </a:lnTo>
                  <a:lnTo>
                    <a:pt x="4" y="2124"/>
                  </a:lnTo>
                  <a:lnTo>
                    <a:pt x="1012" y="2056"/>
                  </a:lnTo>
                  <a:lnTo>
                    <a:pt x="1010" y="2048"/>
                  </a:lnTo>
                  <a:lnTo>
                    <a:pt x="1012" y="2048"/>
                  </a:lnTo>
                  <a:lnTo>
                    <a:pt x="1012" y="144"/>
                  </a:lnTo>
                  <a:lnTo>
                    <a:pt x="1012" y="110"/>
                  </a:lnTo>
                  <a:lnTo>
                    <a:pt x="0" y="0"/>
                  </a:lnTo>
                  <a:close/>
                  <a:moveTo>
                    <a:pt x="214" y="678"/>
                  </a:moveTo>
                  <a:lnTo>
                    <a:pt x="214" y="678"/>
                  </a:lnTo>
                  <a:lnTo>
                    <a:pt x="216" y="666"/>
                  </a:lnTo>
                  <a:lnTo>
                    <a:pt x="222" y="658"/>
                  </a:lnTo>
                  <a:lnTo>
                    <a:pt x="232" y="652"/>
                  </a:lnTo>
                  <a:lnTo>
                    <a:pt x="242" y="650"/>
                  </a:lnTo>
                  <a:lnTo>
                    <a:pt x="752" y="664"/>
                  </a:lnTo>
                  <a:lnTo>
                    <a:pt x="752" y="664"/>
                  </a:lnTo>
                  <a:lnTo>
                    <a:pt x="762" y="666"/>
                  </a:lnTo>
                  <a:lnTo>
                    <a:pt x="772" y="672"/>
                  </a:lnTo>
                  <a:lnTo>
                    <a:pt x="778" y="682"/>
                  </a:lnTo>
                  <a:lnTo>
                    <a:pt x="780" y="692"/>
                  </a:lnTo>
                  <a:lnTo>
                    <a:pt x="778" y="750"/>
                  </a:lnTo>
                  <a:lnTo>
                    <a:pt x="778" y="750"/>
                  </a:lnTo>
                  <a:lnTo>
                    <a:pt x="776" y="760"/>
                  </a:lnTo>
                  <a:lnTo>
                    <a:pt x="770" y="770"/>
                  </a:lnTo>
                  <a:lnTo>
                    <a:pt x="760" y="776"/>
                  </a:lnTo>
                  <a:lnTo>
                    <a:pt x="750" y="778"/>
                  </a:lnTo>
                  <a:lnTo>
                    <a:pt x="240" y="764"/>
                  </a:lnTo>
                  <a:lnTo>
                    <a:pt x="240" y="764"/>
                  </a:lnTo>
                  <a:lnTo>
                    <a:pt x="228" y="762"/>
                  </a:lnTo>
                  <a:lnTo>
                    <a:pt x="220" y="756"/>
                  </a:lnTo>
                  <a:lnTo>
                    <a:pt x="214" y="746"/>
                  </a:lnTo>
                  <a:lnTo>
                    <a:pt x="212" y="736"/>
                  </a:lnTo>
                  <a:lnTo>
                    <a:pt x="214" y="678"/>
                  </a:lnTo>
                  <a:close/>
                  <a:moveTo>
                    <a:pt x="750" y="1368"/>
                  </a:moveTo>
                  <a:lnTo>
                    <a:pt x="240" y="1386"/>
                  </a:lnTo>
                  <a:lnTo>
                    <a:pt x="240" y="1386"/>
                  </a:lnTo>
                  <a:lnTo>
                    <a:pt x="228" y="1384"/>
                  </a:lnTo>
                  <a:lnTo>
                    <a:pt x="220" y="1378"/>
                  </a:lnTo>
                  <a:lnTo>
                    <a:pt x="214" y="1370"/>
                  </a:lnTo>
                  <a:lnTo>
                    <a:pt x="212" y="1358"/>
                  </a:lnTo>
                  <a:lnTo>
                    <a:pt x="210" y="1300"/>
                  </a:lnTo>
                  <a:lnTo>
                    <a:pt x="210" y="1300"/>
                  </a:lnTo>
                  <a:lnTo>
                    <a:pt x="210" y="1290"/>
                  </a:lnTo>
                  <a:lnTo>
                    <a:pt x="216" y="1280"/>
                  </a:lnTo>
                  <a:lnTo>
                    <a:pt x="226" y="1274"/>
                  </a:lnTo>
                  <a:lnTo>
                    <a:pt x="236" y="1272"/>
                  </a:lnTo>
                  <a:lnTo>
                    <a:pt x="746" y="1254"/>
                  </a:lnTo>
                  <a:lnTo>
                    <a:pt x="746" y="1254"/>
                  </a:lnTo>
                  <a:lnTo>
                    <a:pt x="756" y="1256"/>
                  </a:lnTo>
                  <a:lnTo>
                    <a:pt x="766" y="1262"/>
                  </a:lnTo>
                  <a:lnTo>
                    <a:pt x="772" y="1270"/>
                  </a:lnTo>
                  <a:lnTo>
                    <a:pt x="774" y="1280"/>
                  </a:lnTo>
                  <a:lnTo>
                    <a:pt x="776" y="1338"/>
                  </a:lnTo>
                  <a:lnTo>
                    <a:pt x="776" y="1338"/>
                  </a:lnTo>
                  <a:lnTo>
                    <a:pt x="774" y="1350"/>
                  </a:lnTo>
                  <a:lnTo>
                    <a:pt x="770" y="1358"/>
                  </a:lnTo>
                  <a:lnTo>
                    <a:pt x="760" y="1364"/>
                  </a:lnTo>
                  <a:lnTo>
                    <a:pt x="750" y="1368"/>
                  </a:lnTo>
                  <a:lnTo>
                    <a:pt x="750" y="1368"/>
                  </a:lnTo>
                  <a:close/>
                  <a:moveTo>
                    <a:pt x="782" y="1044"/>
                  </a:moveTo>
                  <a:lnTo>
                    <a:pt x="782" y="1044"/>
                  </a:lnTo>
                  <a:lnTo>
                    <a:pt x="780" y="1056"/>
                  </a:lnTo>
                  <a:lnTo>
                    <a:pt x="774" y="1064"/>
                  </a:lnTo>
                  <a:lnTo>
                    <a:pt x="764" y="1070"/>
                  </a:lnTo>
                  <a:lnTo>
                    <a:pt x="754" y="1072"/>
                  </a:lnTo>
                  <a:lnTo>
                    <a:pt x="244" y="1072"/>
                  </a:lnTo>
                  <a:lnTo>
                    <a:pt x="244" y="1072"/>
                  </a:lnTo>
                  <a:lnTo>
                    <a:pt x="232" y="1070"/>
                  </a:lnTo>
                  <a:lnTo>
                    <a:pt x="224" y="1064"/>
                  </a:lnTo>
                  <a:lnTo>
                    <a:pt x="218" y="1056"/>
                  </a:lnTo>
                  <a:lnTo>
                    <a:pt x="216" y="1044"/>
                  </a:lnTo>
                  <a:lnTo>
                    <a:pt x="216" y="986"/>
                  </a:lnTo>
                  <a:lnTo>
                    <a:pt x="216" y="986"/>
                  </a:lnTo>
                  <a:lnTo>
                    <a:pt x="218" y="976"/>
                  </a:lnTo>
                  <a:lnTo>
                    <a:pt x="224" y="968"/>
                  </a:lnTo>
                  <a:lnTo>
                    <a:pt x="232" y="962"/>
                  </a:lnTo>
                  <a:lnTo>
                    <a:pt x="244" y="960"/>
                  </a:lnTo>
                  <a:lnTo>
                    <a:pt x="754" y="960"/>
                  </a:lnTo>
                  <a:lnTo>
                    <a:pt x="754" y="960"/>
                  </a:lnTo>
                  <a:lnTo>
                    <a:pt x="764" y="962"/>
                  </a:lnTo>
                  <a:lnTo>
                    <a:pt x="774" y="968"/>
                  </a:lnTo>
                  <a:lnTo>
                    <a:pt x="780" y="976"/>
                  </a:lnTo>
                  <a:lnTo>
                    <a:pt x="782" y="986"/>
                  </a:lnTo>
                  <a:lnTo>
                    <a:pt x="782" y="1044"/>
                  </a:lnTo>
                  <a:close/>
                  <a:moveTo>
                    <a:pt x="778" y="472"/>
                  </a:moveTo>
                  <a:lnTo>
                    <a:pt x="778" y="472"/>
                  </a:lnTo>
                  <a:lnTo>
                    <a:pt x="776" y="484"/>
                  </a:lnTo>
                  <a:lnTo>
                    <a:pt x="770" y="492"/>
                  </a:lnTo>
                  <a:lnTo>
                    <a:pt x="760" y="496"/>
                  </a:lnTo>
                  <a:lnTo>
                    <a:pt x="750" y="498"/>
                  </a:lnTo>
                  <a:lnTo>
                    <a:pt x="240" y="462"/>
                  </a:lnTo>
                  <a:lnTo>
                    <a:pt x="240" y="462"/>
                  </a:lnTo>
                  <a:lnTo>
                    <a:pt x="230" y="460"/>
                  </a:lnTo>
                  <a:lnTo>
                    <a:pt x="222" y="452"/>
                  </a:lnTo>
                  <a:lnTo>
                    <a:pt x="216" y="444"/>
                  </a:lnTo>
                  <a:lnTo>
                    <a:pt x="214" y="432"/>
                  </a:lnTo>
                  <a:lnTo>
                    <a:pt x="218" y="374"/>
                  </a:lnTo>
                  <a:lnTo>
                    <a:pt x="218" y="374"/>
                  </a:lnTo>
                  <a:lnTo>
                    <a:pt x="222" y="364"/>
                  </a:lnTo>
                  <a:lnTo>
                    <a:pt x="228" y="356"/>
                  </a:lnTo>
                  <a:lnTo>
                    <a:pt x="238" y="350"/>
                  </a:lnTo>
                  <a:lnTo>
                    <a:pt x="248" y="350"/>
                  </a:lnTo>
                  <a:lnTo>
                    <a:pt x="758" y="386"/>
                  </a:lnTo>
                  <a:lnTo>
                    <a:pt x="758" y="386"/>
                  </a:lnTo>
                  <a:lnTo>
                    <a:pt x="768" y="388"/>
                  </a:lnTo>
                  <a:lnTo>
                    <a:pt x="776" y="394"/>
                  </a:lnTo>
                  <a:lnTo>
                    <a:pt x="782" y="404"/>
                  </a:lnTo>
                  <a:lnTo>
                    <a:pt x="782" y="414"/>
                  </a:lnTo>
                  <a:lnTo>
                    <a:pt x="778" y="472"/>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5" name="Freeform 51"/>
            <p:cNvSpPr>
              <a:spLocks noEditPoints="1"/>
            </p:cNvSpPr>
            <p:nvPr/>
          </p:nvSpPr>
          <p:spPr bwMode="auto">
            <a:xfrm>
              <a:off x="2560" y="1381"/>
              <a:ext cx="1012" cy="2124"/>
            </a:xfrm>
            <a:custGeom>
              <a:avLst/>
              <a:gdLst>
                <a:gd name="T0" fmla="*/ 2 w 1012"/>
                <a:gd name="T1" fmla="*/ 2046 h 2124"/>
                <a:gd name="T2" fmla="*/ 2 w 1012"/>
                <a:gd name="T3" fmla="*/ 2056 h 2124"/>
                <a:gd name="T4" fmla="*/ 1010 w 1012"/>
                <a:gd name="T5" fmla="*/ 2122 h 2124"/>
                <a:gd name="T6" fmla="*/ 1012 w 1012"/>
                <a:gd name="T7" fmla="*/ 0 h 2124"/>
                <a:gd name="T8" fmla="*/ 2 w 1012"/>
                <a:gd name="T9" fmla="*/ 144 h 2124"/>
                <a:gd name="T10" fmla="*/ 802 w 1012"/>
                <a:gd name="T11" fmla="*/ 1358 h 2124"/>
                <a:gd name="T12" fmla="*/ 794 w 1012"/>
                <a:gd name="T13" fmla="*/ 1378 h 2124"/>
                <a:gd name="T14" fmla="*/ 774 w 1012"/>
                <a:gd name="T15" fmla="*/ 1386 h 2124"/>
                <a:gd name="T16" fmla="*/ 264 w 1012"/>
                <a:gd name="T17" fmla="*/ 1368 h 2124"/>
                <a:gd name="T18" fmla="*/ 244 w 1012"/>
                <a:gd name="T19" fmla="*/ 1358 h 2124"/>
                <a:gd name="T20" fmla="*/ 236 w 1012"/>
                <a:gd name="T21" fmla="*/ 1338 h 2124"/>
                <a:gd name="T22" fmla="*/ 238 w 1012"/>
                <a:gd name="T23" fmla="*/ 1280 h 2124"/>
                <a:gd name="T24" fmla="*/ 248 w 1012"/>
                <a:gd name="T25" fmla="*/ 1262 h 2124"/>
                <a:gd name="T26" fmla="*/ 268 w 1012"/>
                <a:gd name="T27" fmla="*/ 1254 h 2124"/>
                <a:gd name="T28" fmla="*/ 778 w 1012"/>
                <a:gd name="T29" fmla="*/ 1272 h 2124"/>
                <a:gd name="T30" fmla="*/ 796 w 1012"/>
                <a:gd name="T31" fmla="*/ 1280 h 2124"/>
                <a:gd name="T32" fmla="*/ 804 w 1012"/>
                <a:gd name="T33" fmla="*/ 1300 h 2124"/>
                <a:gd name="T34" fmla="*/ 232 w 1012"/>
                <a:gd name="T35" fmla="*/ 1044 h 2124"/>
                <a:gd name="T36" fmla="*/ 232 w 1012"/>
                <a:gd name="T37" fmla="*/ 986 h 2124"/>
                <a:gd name="T38" fmla="*/ 240 w 1012"/>
                <a:gd name="T39" fmla="*/ 968 h 2124"/>
                <a:gd name="T40" fmla="*/ 260 w 1012"/>
                <a:gd name="T41" fmla="*/ 960 h 2124"/>
                <a:gd name="T42" fmla="*/ 770 w 1012"/>
                <a:gd name="T43" fmla="*/ 960 h 2124"/>
                <a:gd name="T44" fmla="*/ 790 w 1012"/>
                <a:gd name="T45" fmla="*/ 968 h 2124"/>
                <a:gd name="T46" fmla="*/ 798 w 1012"/>
                <a:gd name="T47" fmla="*/ 986 h 2124"/>
                <a:gd name="T48" fmla="*/ 798 w 1012"/>
                <a:gd name="T49" fmla="*/ 1044 h 2124"/>
                <a:gd name="T50" fmla="*/ 790 w 1012"/>
                <a:gd name="T51" fmla="*/ 1064 h 2124"/>
                <a:gd name="T52" fmla="*/ 770 w 1012"/>
                <a:gd name="T53" fmla="*/ 1072 h 2124"/>
                <a:gd name="T54" fmla="*/ 260 w 1012"/>
                <a:gd name="T55" fmla="*/ 1072 h 2124"/>
                <a:gd name="T56" fmla="*/ 240 w 1012"/>
                <a:gd name="T57" fmla="*/ 1064 h 2124"/>
                <a:gd name="T58" fmla="*/ 232 w 1012"/>
                <a:gd name="T59" fmla="*/ 1044 h 2124"/>
                <a:gd name="T60" fmla="*/ 800 w 1012"/>
                <a:gd name="T61" fmla="*/ 736 h 2124"/>
                <a:gd name="T62" fmla="*/ 798 w 1012"/>
                <a:gd name="T63" fmla="*/ 746 h 2124"/>
                <a:gd name="T64" fmla="*/ 784 w 1012"/>
                <a:gd name="T65" fmla="*/ 762 h 2124"/>
                <a:gd name="T66" fmla="*/ 264 w 1012"/>
                <a:gd name="T67" fmla="*/ 778 h 2124"/>
                <a:gd name="T68" fmla="*/ 252 w 1012"/>
                <a:gd name="T69" fmla="*/ 776 h 2124"/>
                <a:gd name="T70" fmla="*/ 238 w 1012"/>
                <a:gd name="T71" fmla="*/ 762 h 2124"/>
                <a:gd name="T72" fmla="*/ 234 w 1012"/>
                <a:gd name="T73" fmla="*/ 692 h 2124"/>
                <a:gd name="T74" fmla="*/ 236 w 1012"/>
                <a:gd name="T75" fmla="*/ 682 h 2124"/>
                <a:gd name="T76" fmla="*/ 250 w 1012"/>
                <a:gd name="T77" fmla="*/ 666 h 2124"/>
                <a:gd name="T78" fmla="*/ 772 w 1012"/>
                <a:gd name="T79" fmla="*/ 650 h 2124"/>
                <a:gd name="T80" fmla="*/ 782 w 1012"/>
                <a:gd name="T81" fmla="*/ 652 h 2124"/>
                <a:gd name="T82" fmla="*/ 796 w 1012"/>
                <a:gd name="T83" fmla="*/ 666 h 2124"/>
                <a:gd name="T84" fmla="*/ 800 w 1012"/>
                <a:gd name="T85" fmla="*/ 736 h 2124"/>
                <a:gd name="T86" fmla="*/ 766 w 1012"/>
                <a:gd name="T87" fmla="*/ 350 h 2124"/>
                <a:gd name="T88" fmla="*/ 776 w 1012"/>
                <a:gd name="T89" fmla="*/ 350 h 2124"/>
                <a:gd name="T90" fmla="*/ 792 w 1012"/>
                <a:gd name="T91" fmla="*/ 364 h 2124"/>
                <a:gd name="T92" fmla="*/ 798 w 1012"/>
                <a:gd name="T93" fmla="*/ 432 h 2124"/>
                <a:gd name="T94" fmla="*/ 798 w 1012"/>
                <a:gd name="T95" fmla="*/ 444 h 2124"/>
                <a:gd name="T96" fmla="*/ 784 w 1012"/>
                <a:gd name="T97" fmla="*/ 460 h 2124"/>
                <a:gd name="T98" fmla="*/ 264 w 1012"/>
                <a:gd name="T99" fmla="*/ 498 h 2124"/>
                <a:gd name="T100" fmla="*/ 254 w 1012"/>
                <a:gd name="T101" fmla="*/ 498 h 2124"/>
                <a:gd name="T102" fmla="*/ 238 w 1012"/>
                <a:gd name="T103" fmla="*/ 484 h 2124"/>
                <a:gd name="T104" fmla="*/ 230 w 1012"/>
                <a:gd name="T105" fmla="*/ 416 h 2124"/>
                <a:gd name="T106" fmla="*/ 232 w 1012"/>
                <a:gd name="T107" fmla="*/ 404 h 2124"/>
                <a:gd name="T108" fmla="*/ 246 w 1012"/>
                <a:gd name="T109" fmla="*/ 388 h 2124"/>
                <a:gd name="T110" fmla="*/ 256 w 1012"/>
                <a:gd name="T111" fmla="*/ 386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12" h="2124">
                  <a:moveTo>
                    <a:pt x="2" y="144"/>
                  </a:moveTo>
                  <a:lnTo>
                    <a:pt x="2" y="2046"/>
                  </a:lnTo>
                  <a:lnTo>
                    <a:pt x="2" y="2046"/>
                  </a:lnTo>
                  <a:lnTo>
                    <a:pt x="2" y="2056"/>
                  </a:lnTo>
                  <a:lnTo>
                    <a:pt x="1010" y="2124"/>
                  </a:lnTo>
                  <a:lnTo>
                    <a:pt x="1010" y="2122"/>
                  </a:lnTo>
                  <a:lnTo>
                    <a:pt x="1012" y="2124"/>
                  </a:lnTo>
                  <a:lnTo>
                    <a:pt x="1012" y="0"/>
                  </a:lnTo>
                  <a:lnTo>
                    <a:pt x="0" y="110"/>
                  </a:lnTo>
                  <a:lnTo>
                    <a:pt x="2" y="144"/>
                  </a:lnTo>
                  <a:close/>
                  <a:moveTo>
                    <a:pt x="802" y="1358"/>
                  </a:moveTo>
                  <a:lnTo>
                    <a:pt x="802" y="1358"/>
                  </a:lnTo>
                  <a:lnTo>
                    <a:pt x="800" y="1370"/>
                  </a:lnTo>
                  <a:lnTo>
                    <a:pt x="794" y="1378"/>
                  </a:lnTo>
                  <a:lnTo>
                    <a:pt x="784" y="1384"/>
                  </a:lnTo>
                  <a:lnTo>
                    <a:pt x="774" y="1386"/>
                  </a:lnTo>
                  <a:lnTo>
                    <a:pt x="264" y="1368"/>
                  </a:lnTo>
                  <a:lnTo>
                    <a:pt x="264" y="1368"/>
                  </a:lnTo>
                  <a:lnTo>
                    <a:pt x="252" y="1364"/>
                  </a:lnTo>
                  <a:lnTo>
                    <a:pt x="244" y="1358"/>
                  </a:lnTo>
                  <a:lnTo>
                    <a:pt x="238" y="1350"/>
                  </a:lnTo>
                  <a:lnTo>
                    <a:pt x="236" y="1338"/>
                  </a:lnTo>
                  <a:lnTo>
                    <a:pt x="238" y="1280"/>
                  </a:lnTo>
                  <a:lnTo>
                    <a:pt x="238" y="1280"/>
                  </a:lnTo>
                  <a:lnTo>
                    <a:pt x="242" y="1270"/>
                  </a:lnTo>
                  <a:lnTo>
                    <a:pt x="248" y="1262"/>
                  </a:lnTo>
                  <a:lnTo>
                    <a:pt x="256" y="1256"/>
                  </a:lnTo>
                  <a:lnTo>
                    <a:pt x="268" y="1254"/>
                  </a:lnTo>
                  <a:lnTo>
                    <a:pt x="778" y="1272"/>
                  </a:lnTo>
                  <a:lnTo>
                    <a:pt x="778" y="1272"/>
                  </a:lnTo>
                  <a:lnTo>
                    <a:pt x="788" y="1274"/>
                  </a:lnTo>
                  <a:lnTo>
                    <a:pt x="796" y="1280"/>
                  </a:lnTo>
                  <a:lnTo>
                    <a:pt x="802" y="1290"/>
                  </a:lnTo>
                  <a:lnTo>
                    <a:pt x="804" y="1300"/>
                  </a:lnTo>
                  <a:lnTo>
                    <a:pt x="802" y="1358"/>
                  </a:lnTo>
                  <a:close/>
                  <a:moveTo>
                    <a:pt x="232" y="1044"/>
                  </a:moveTo>
                  <a:lnTo>
                    <a:pt x="232" y="986"/>
                  </a:lnTo>
                  <a:lnTo>
                    <a:pt x="232" y="986"/>
                  </a:lnTo>
                  <a:lnTo>
                    <a:pt x="234" y="976"/>
                  </a:lnTo>
                  <a:lnTo>
                    <a:pt x="240" y="968"/>
                  </a:lnTo>
                  <a:lnTo>
                    <a:pt x="248" y="962"/>
                  </a:lnTo>
                  <a:lnTo>
                    <a:pt x="260" y="960"/>
                  </a:lnTo>
                  <a:lnTo>
                    <a:pt x="770" y="960"/>
                  </a:lnTo>
                  <a:lnTo>
                    <a:pt x="770" y="960"/>
                  </a:lnTo>
                  <a:lnTo>
                    <a:pt x="780" y="962"/>
                  </a:lnTo>
                  <a:lnTo>
                    <a:pt x="790" y="968"/>
                  </a:lnTo>
                  <a:lnTo>
                    <a:pt x="796" y="976"/>
                  </a:lnTo>
                  <a:lnTo>
                    <a:pt x="798" y="986"/>
                  </a:lnTo>
                  <a:lnTo>
                    <a:pt x="798" y="1044"/>
                  </a:lnTo>
                  <a:lnTo>
                    <a:pt x="798" y="1044"/>
                  </a:lnTo>
                  <a:lnTo>
                    <a:pt x="796" y="1056"/>
                  </a:lnTo>
                  <a:lnTo>
                    <a:pt x="790" y="1064"/>
                  </a:lnTo>
                  <a:lnTo>
                    <a:pt x="780" y="1070"/>
                  </a:lnTo>
                  <a:lnTo>
                    <a:pt x="770" y="1072"/>
                  </a:lnTo>
                  <a:lnTo>
                    <a:pt x="260" y="1072"/>
                  </a:lnTo>
                  <a:lnTo>
                    <a:pt x="260" y="1072"/>
                  </a:lnTo>
                  <a:lnTo>
                    <a:pt x="248" y="1070"/>
                  </a:lnTo>
                  <a:lnTo>
                    <a:pt x="240" y="1064"/>
                  </a:lnTo>
                  <a:lnTo>
                    <a:pt x="234" y="1056"/>
                  </a:lnTo>
                  <a:lnTo>
                    <a:pt x="232" y="1044"/>
                  </a:lnTo>
                  <a:lnTo>
                    <a:pt x="232" y="1044"/>
                  </a:lnTo>
                  <a:close/>
                  <a:moveTo>
                    <a:pt x="800" y="736"/>
                  </a:moveTo>
                  <a:lnTo>
                    <a:pt x="800" y="736"/>
                  </a:lnTo>
                  <a:lnTo>
                    <a:pt x="798" y="746"/>
                  </a:lnTo>
                  <a:lnTo>
                    <a:pt x="794" y="756"/>
                  </a:lnTo>
                  <a:lnTo>
                    <a:pt x="784" y="762"/>
                  </a:lnTo>
                  <a:lnTo>
                    <a:pt x="774" y="764"/>
                  </a:lnTo>
                  <a:lnTo>
                    <a:pt x="264" y="778"/>
                  </a:lnTo>
                  <a:lnTo>
                    <a:pt x="264" y="778"/>
                  </a:lnTo>
                  <a:lnTo>
                    <a:pt x="252" y="776"/>
                  </a:lnTo>
                  <a:lnTo>
                    <a:pt x="244" y="770"/>
                  </a:lnTo>
                  <a:lnTo>
                    <a:pt x="238" y="762"/>
                  </a:lnTo>
                  <a:lnTo>
                    <a:pt x="236" y="750"/>
                  </a:lnTo>
                  <a:lnTo>
                    <a:pt x="234" y="692"/>
                  </a:lnTo>
                  <a:lnTo>
                    <a:pt x="234" y="692"/>
                  </a:lnTo>
                  <a:lnTo>
                    <a:pt x="236" y="682"/>
                  </a:lnTo>
                  <a:lnTo>
                    <a:pt x="242" y="672"/>
                  </a:lnTo>
                  <a:lnTo>
                    <a:pt x="250" y="666"/>
                  </a:lnTo>
                  <a:lnTo>
                    <a:pt x="260" y="664"/>
                  </a:lnTo>
                  <a:lnTo>
                    <a:pt x="772" y="650"/>
                  </a:lnTo>
                  <a:lnTo>
                    <a:pt x="772" y="650"/>
                  </a:lnTo>
                  <a:lnTo>
                    <a:pt x="782" y="652"/>
                  </a:lnTo>
                  <a:lnTo>
                    <a:pt x="790" y="658"/>
                  </a:lnTo>
                  <a:lnTo>
                    <a:pt x="796" y="666"/>
                  </a:lnTo>
                  <a:lnTo>
                    <a:pt x="800" y="678"/>
                  </a:lnTo>
                  <a:lnTo>
                    <a:pt x="800" y="736"/>
                  </a:lnTo>
                  <a:close/>
                  <a:moveTo>
                    <a:pt x="256" y="386"/>
                  </a:moveTo>
                  <a:lnTo>
                    <a:pt x="766" y="350"/>
                  </a:lnTo>
                  <a:lnTo>
                    <a:pt x="766" y="350"/>
                  </a:lnTo>
                  <a:lnTo>
                    <a:pt x="776" y="350"/>
                  </a:lnTo>
                  <a:lnTo>
                    <a:pt x="786" y="356"/>
                  </a:lnTo>
                  <a:lnTo>
                    <a:pt x="792" y="364"/>
                  </a:lnTo>
                  <a:lnTo>
                    <a:pt x="794" y="374"/>
                  </a:lnTo>
                  <a:lnTo>
                    <a:pt x="798" y="432"/>
                  </a:lnTo>
                  <a:lnTo>
                    <a:pt x="798" y="432"/>
                  </a:lnTo>
                  <a:lnTo>
                    <a:pt x="798" y="444"/>
                  </a:lnTo>
                  <a:lnTo>
                    <a:pt x="792" y="452"/>
                  </a:lnTo>
                  <a:lnTo>
                    <a:pt x="784" y="460"/>
                  </a:lnTo>
                  <a:lnTo>
                    <a:pt x="774" y="462"/>
                  </a:lnTo>
                  <a:lnTo>
                    <a:pt x="264" y="498"/>
                  </a:lnTo>
                  <a:lnTo>
                    <a:pt x="264" y="498"/>
                  </a:lnTo>
                  <a:lnTo>
                    <a:pt x="254" y="498"/>
                  </a:lnTo>
                  <a:lnTo>
                    <a:pt x="244" y="492"/>
                  </a:lnTo>
                  <a:lnTo>
                    <a:pt x="238" y="484"/>
                  </a:lnTo>
                  <a:lnTo>
                    <a:pt x="234" y="472"/>
                  </a:lnTo>
                  <a:lnTo>
                    <a:pt x="230" y="416"/>
                  </a:lnTo>
                  <a:lnTo>
                    <a:pt x="230" y="416"/>
                  </a:lnTo>
                  <a:lnTo>
                    <a:pt x="232" y="404"/>
                  </a:lnTo>
                  <a:lnTo>
                    <a:pt x="238" y="394"/>
                  </a:lnTo>
                  <a:lnTo>
                    <a:pt x="246" y="388"/>
                  </a:lnTo>
                  <a:lnTo>
                    <a:pt x="256" y="386"/>
                  </a:lnTo>
                  <a:lnTo>
                    <a:pt x="256" y="386"/>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grpSp>
    </p:spTree>
    <p:extLst>
      <p:ext uri="{BB962C8B-B14F-4D97-AF65-F5344CB8AC3E}">
        <p14:creationId xmlns:p14="http://schemas.microsoft.com/office/powerpoint/2010/main" val="11152245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barn(outVertical)">
                                      <p:cBhvr>
                                        <p:cTn id="7" dur="500"/>
                                        <p:tgtEl>
                                          <p:spTgt spid="25"/>
                                        </p:tgtEl>
                                      </p:cBhvr>
                                    </p:animEffect>
                                  </p:childTnLst>
                                </p:cTn>
                              </p:par>
                              <p:par>
                                <p:cTn id="8" presetID="16" presetClass="entr" presetSubtype="37"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barn(outVertical)">
                                      <p:cBhvr>
                                        <p:cTn id="10" dur="500"/>
                                        <p:tgtEl>
                                          <p:spTgt spid="26"/>
                                        </p:tgtEl>
                                      </p:cBhvr>
                                    </p:animEffect>
                                  </p:childTnLst>
                                </p:cTn>
                              </p:par>
                              <p:par>
                                <p:cTn id="11" presetID="16" presetClass="entr" presetSubtype="37" fill="hold" nodeType="withEffect">
                                  <p:stCondLst>
                                    <p:cond delay="0"/>
                                  </p:stCondLst>
                                  <p:childTnLst>
                                    <p:set>
                                      <p:cBhvr>
                                        <p:cTn id="12" dur="1" fill="hold">
                                          <p:stCondLst>
                                            <p:cond delay="0"/>
                                          </p:stCondLst>
                                        </p:cTn>
                                        <p:tgtEl>
                                          <p:spTgt spid="30"/>
                                        </p:tgtEl>
                                        <p:attrNameLst>
                                          <p:attrName>style.visibility</p:attrName>
                                        </p:attrNameLst>
                                      </p:cBhvr>
                                      <p:to>
                                        <p:strVal val="visible"/>
                                      </p:to>
                                    </p:set>
                                    <p:animEffect transition="in" filter="barn(outVertical)">
                                      <p:cBhvr>
                                        <p:cTn id="13" dur="500"/>
                                        <p:tgtEl>
                                          <p:spTgt spid="30"/>
                                        </p:tgtEl>
                                      </p:cBhvr>
                                    </p:animEffect>
                                  </p:childTnLst>
                                </p:cTn>
                              </p:par>
                              <p:par>
                                <p:cTn id="14" presetID="16" presetClass="entr" presetSubtype="37" fill="hold"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barn(outVertical)">
                                      <p:cBhvr>
                                        <p:cTn id="16"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360194" y="1488359"/>
            <a:ext cx="6567487" cy="849463"/>
          </a:xfrm>
        </p:spPr>
        <p:txBody>
          <a:bodyPr/>
          <a:lstStyle/>
          <a:p>
            <a:pPr marL="0" indent="0">
              <a:buNone/>
            </a:pPr>
            <a:r>
              <a:rPr lang="en-US" sz="2400" b="1" dirty="0">
                <a:solidFill>
                  <a:schemeClr val="tx1">
                    <a:lumMod val="60000"/>
                    <a:lumOff val="40000"/>
                  </a:schemeClr>
                </a:solidFill>
              </a:rPr>
              <a:t>The Wi-Fi Pineapple is a creative way for hackers to tap into your personal devices</a:t>
            </a:r>
            <a:endParaRPr lang="en-US" sz="2800" b="1" dirty="0">
              <a:solidFill>
                <a:schemeClr val="tx1">
                  <a:lumMod val="60000"/>
                  <a:lumOff val="40000"/>
                </a:schemeClr>
              </a:solidFill>
            </a:endParaRPr>
          </a:p>
        </p:txBody>
      </p:sp>
      <p:sp>
        <p:nvSpPr>
          <p:cNvPr id="3" name="Title 2"/>
          <p:cNvSpPr>
            <a:spLocks noGrp="1"/>
          </p:cNvSpPr>
          <p:nvPr>
            <p:ph type="title"/>
          </p:nvPr>
        </p:nvSpPr>
        <p:spPr/>
        <p:txBody>
          <a:bodyPr/>
          <a:lstStyle/>
          <a:p>
            <a:r>
              <a:rPr lang="en-US" sz="4800"/>
              <a:t>Wireless </a:t>
            </a:r>
            <a:r>
              <a:rPr lang="en-US" sz="4800" dirty="0"/>
              <a:t>auditing</a:t>
            </a:r>
            <a:r>
              <a:rPr lang="en-US" sz="4800"/>
              <a:t>	</a:t>
            </a:r>
            <a:endParaRPr lang="en-US" sz="4800" dirty="0"/>
          </a:p>
        </p:txBody>
      </p:sp>
      <p:grpSp>
        <p:nvGrpSpPr>
          <p:cNvPr id="8" name="Group 7"/>
          <p:cNvGrpSpPr/>
          <p:nvPr/>
        </p:nvGrpSpPr>
        <p:grpSpPr>
          <a:xfrm>
            <a:off x="-59531" y="1619250"/>
            <a:ext cx="5419725" cy="4800600"/>
            <a:chOff x="-59531" y="1619250"/>
            <a:chExt cx="5419725" cy="4800600"/>
          </a:xfrm>
        </p:grpSpPr>
        <p:grpSp>
          <p:nvGrpSpPr>
            <p:cNvPr id="5" name="Group 4"/>
            <p:cNvGrpSpPr/>
            <p:nvPr/>
          </p:nvGrpSpPr>
          <p:grpSpPr>
            <a:xfrm>
              <a:off x="-59531" y="1619250"/>
              <a:ext cx="5419725" cy="4800600"/>
              <a:chOff x="209708" y="2057400"/>
              <a:chExt cx="5419725" cy="4800600"/>
            </a:xfrm>
          </p:grpSpPr>
          <p:sp>
            <p:nvSpPr>
              <p:cNvPr id="4" name="Oval 3"/>
              <p:cNvSpPr/>
              <p:nvPr/>
            </p:nvSpPr>
            <p:spPr bwMode="auto">
              <a:xfrm>
                <a:off x="578801" y="2057400"/>
                <a:ext cx="4800600" cy="4800600"/>
              </a:xfrm>
              <a:prstGeom prst="ellipse">
                <a:avLst/>
              </a:prstGeom>
              <a:solidFill>
                <a:schemeClr val="bg1">
                  <a:lumMod val="95000"/>
                </a:schemeClr>
              </a:solidFill>
              <a:ln>
                <a:solidFill>
                  <a:schemeClr val="tx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458" name="Picture 2" descr="http://www.kumbilgi.com/wp-content/uploads/2015/06/hack4.jpg"/>
              <p:cNvPicPr>
                <a:picLocks noChangeAspect="1" noChangeArrowheads="1"/>
              </p:cNvPicPr>
              <p:nvPr/>
            </p:nvPicPr>
            <p:blipFill>
              <a:blip r:embed="rId3">
                <a:clrChange>
                  <a:clrFrom>
                    <a:srgbClr val="FEFDFB"/>
                  </a:clrFrom>
                  <a:clrTo>
                    <a:srgbClr val="FEFDFB">
                      <a:alpha val="0"/>
                    </a:srgbClr>
                  </a:clrTo>
                </a:clrChange>
                <a:extLst>
                  <a:ext uri="{28A0092B-C50C-407E-A947-70E740481C1C}">
                    <a14:useLocalDpi xmlns:a14="http://schemas.microsoft.com/office/drawing/2010/main" val="0"/>
                  </a:ext>
                </a:extLst>
              </a:blip>
              <a:srcRect/>
              <a:stretch>
                <a:fillRect/>
              </a:stretch>
            </p:blipFill>
            <p:spPr bwMode="auto">
              <a:xfrm>
                <a:off x="209708" y="2898059"/>
                <a:ext cx="5419725" cy="3046456"/>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Rectangle 5"/>
            <p:cNvSpPr/>
            <p:nvPr/>
          </p:nvSpPr>
          <p:spPr>
            <a:xfrm>
              <a:off x="1668265" y="5332986"/>
              <a:ext cx="2083193" cy="369332"/>
            </a:xfrm>
            <a:prstGeom prst="rect">
              <a:avLst/>
            </a:prstGeom>
          </p:spPr>
          <p:txBody>
            <a:bodyPr wrap="square">
              <a:spAutoFit/>
            </a:bodyPr>
            <a:lstStyle/>
            <a:p>
              <a:pPr algn="ctr"/>
              <a:r>
                <a:rPr lang="en-US" i="1" dirty="0"/>
                <a:t>WiFi Pineapple</a:t>
              </a:r>
            </a:p>
          </p:txBody>
        </p:sp>
      </p:grpSp>
      <p:grpSp>
        <p:nvGrpSpPr>
          <p:cNvPr id="7" name="Group 16"/>
          <p:cNvGrpSpPr/>
          <p:nvPr/>
        </p:nvGrpSpPr>
        <p:grpSpPr>
          <a:xfrm>
            <a:off x="6097160" y="2700267"/>
            <a:ext cx="5633536" cy="738664"/>
            <a:chOff x="6097160" y="2700267"/>
            <a:chExt cx="5633536" cy="738664"/>
          </a:xfrm>
        </p:grpSpPr>
        <p:sp>
          <p:nvSpPr>
            <p:cNvPr id="10" name="Oval 17"/>
            <p:cNvSpPr/>
            <p:nvPr/>
          </p:nvSpPr>
          <p:spPr bwMode="auto">
            <a:xfrm>
              <a:off x="6097160" y="2747805"/>
              <a:ext cx="616245" cy="616245"/>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13" name="Text Placeholder 1"/>
            <p:cNvSpPr txBox="1">
              <a:spLocks/>
            </p:cNvSpPr>
            <p:nvPr/>
          </p:nvSpPr>
          <p:spPr>
            <a:xfrm>
              <a:off x="6713404" y="2700267"/>
              <a:ext cx="5017292" cy="738664"/>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2000" dirty="0">
                  <a:solidFill>
                    <a:schemeClr val="tx1"/>
                  </a:solidFill>
                </a:rPr>
                <a:t>Intercept signals of nearby devices looking for Wi-Fi</a:t>
              </a:r>
            </a:p>
          </p:txBody>
        </p:sp>
      </p:grpSp>
      <p:grpSp>
        <p:nvGrpSpPr>
          <p:cNvPr id="16" name="Group 21"/>
          <p:cNvGrpSpPr/>
          <p:nvPr/>
        </p:nvGrpSpPr>
        <p:grpSpPr>
          <a:xfrm>
            <a:off x="6097160" y="3840694"/>
            <a:ext cx="5827920" cy="738664"/>
            <a:chOff x="6097160" y="3836794"/>
            <a:chExt cx="5827920" cy="738664"/>
          </a:xfrm>
        </p:grpSpPr>
        <p:sp>
          <p:nvSpPr>
            <p:cNvPr id="11" name="Oval 22"/>
            <p:cNvSpPr/>
            <p:nvPr/>
          </p:nvSpPr>
          <p:spPr bwMode="auto">
            <a:xfrm>
              <a:off x="6097160" y="3898004"/>
              <a:ext cx="616245" cy="616245"/>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14" name="Text Placeholder 1"/>
            <p:cNvSpPr txBox="1">
              <a:spLocks/>
            </p:cNvSpPr>
            <p:nvPr/>
          </p:nvSpPr>
          <p:spPr>
            <a:xfrm>
              <a:off x="6713404" y="3836794"/>
              <a:ext cx="5211676" cy="738664"/>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2000" dirty="0">
                  <a:solidFill>
                    <a:schemeClr val="tx1"/>
                  </a:solidFill>
                </a:rPr>
                <a:t>Duplicate the network names, so devices connect automatically</a:t>
              </a:r>
            </a:p>
          </p:txBody>
        </p:sp>
      </p:grpSp>
      <p:grpSp>
        <p:nvGrpSpPr>
          <p:cNvPr id="9" name="Group 26"/>
          <p:cNvGrpSpPr/>
          <p:nvPr/>
        </p:nvGrpSpPr>
        <p:grpSpPr>
          <a:xfrm>
            <a:off x="6097159" y="4981120"/>
            <a:ext cx="5633537" cy="738664"/>
            <a:chOff x="6097159" y="4981120"/>
            <a:chExt cx="5633537" cy="738664"/>
          </a:xfrm>
        </p:grpSpPr>
        <p:sp>
          <p:nvSpPr>
            <p:cNvPr id="12" name="Oval 27"/>
            <p:cNvSpPr/>
            <p:nvPr/>
          </p:nvSpPr>
          <p:spPr bwMode="auto">
            <a:xfrm>
              <a:off x="6097159" y="5042330"/>
              <a:ext cx="616245" cy="616245"/>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15" name="Text Placeholder 1"/>
            <p:cNvSpPr txBox="1">
              <a:spLocks/>
            </p:cNvSpPr>
            <p:nvPr/>
          </p:nvSpPr>
          <p:spPr>
            <a:xfrm>
              <a:off x="6713404" y="4981120"/>
              <a:ext cx="5017292" cy="738664"/>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2000" dirty="0">
                  <a:solidFill>
                    <a:schemeClr val="tx1"/>
                  </a:solidFill>
                </a:rPr>
                <a:t>Your device shares any saved login information (Facebook, bank accounts, etc.)</a:t>
              </a:r>
            </a:p>
          </p:txBody>
        </p:sp>
      </p:grpSp>
    </p:spTree>
    <p:extLst>
      <p:ext uri="{BB962C8B-B14F-4D97-AF65-F5344CB8AC3E}">
        <p14:creationId xmlns:p14="http://schemas.microsoft.com/office/powerpoint/2010/main" val="132537432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800"/>
              <a:t>Hardware surveillance</a:t>
            </a:r>
            <a:endParaRPr lang="en-US" sz="4800" dirty="0"/>
          </a:p>
        </p:txBody>
      </p:sp>
      <p:sp>
        <p:nvSpPr>
          <p:cNvPr id="4" name="Text Placeholder 1"/>
          <p:cNvSpPr txBox="1">
            <a:spLocks/>
          </p:cNvSpPr>
          <p:nvPr/>
        </p:nvSpPr>
        <p:spPr>
          <a:xfrm>
            <a:off x="271557" y="987702"/>
            <a:ext cx="11653523" cy="517065"/>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dirty="0"/>
              <a:t>Several physical devices that discreetly monitor computer activity</a:t>
            </a:r>
            <a:endParaRPr lang="en-US" sz="2800" dirty="0"/>
          </a:p>
        </p:txBody>
      </p:sp>
      <p:sp>
        <p:nvSpPr>
          <p:cNvPr id="5" name="Rectangle 4"/>
          <p:cNvSpPr/>
          <p:nvPr/>
        </p:nvSpPr>
        <p:spPr bwMode="auto">
          <a:xfrm>
            <a:off x="666750" y="1752600"/>
            <a:ext cx="5372100" cy="4514850"/>
          </a:xfrm>
          <a:prstGeom prst="rect">
            <a:avLst/>
          </a:prstGeom>
          <a:solidFill>
            <a:schemeClr val="bg1">
              <a:lumMod val="95000"/>
            </a:schemeClr>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6268610" y="1752600"/>
            <a:ext cx="5372100" cy="4514850"/>
          </a:xfrm>
          <a:prstGeom prst="rect">
            <a:avLst/>
          </a:prstGeom>
          <a:solidFill>
            <a:schemeClr val="bg1">
              <a:lumMod val="95000"/>
            </a:schemeClr>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rotWithShape="1">
          <a:blip r:embed="rId3"/>
          <a:srcRect t="15133"/>
          <a:stretch/>
        </p:blipFill>
        <p:spPr>
          <a:xfrm>
            <a:off x="1483633" y="3143250"/>
            <a:ext cx="3720443" cy="2784394"/>
          </a:xfrm>
          <a:prstGeom prst="rect">
            <a:avLst/>
          </a:prstGeom>
        </p:spPr>
      </p:pic>
      <p:pic>
        <p:nvPicPr>
          <p:cNvPr id="21506" name="Picture 2" descr="https://www.getdigital.de/web/getdigital/gfx/products/__generated__resized/1100x1100/keyghost.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8138" b="8955"/>
          <a:stretch/>
        </p:blipFill>
        <p:spPr bwMode="auto">
          <a:xfrm>
            <a:off x="7435122" y="3181350"/>
            <a:ext cx="3312505" cy="2746294"/>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895350" y="1924050"/>
            <a:ext cx="4857750" cy="1126462"/>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The </a:t>
            </a:r>
            <a:r>
              <a:rPr lang="en-US" sz="2000" dirty="0">
                <a:solidFill>
                  <a:schemeClr val="accent5"/>
                </a:solidFill>
              </a:rPr>
              <a:t>KeySweeper</a:t>
            </a:r>
            <a:r>
              <a:rPr lang="en-US" sz="2000" dirty="0">
                <a:gradFill>
                  <a:gsLst>
                    <a:gs pos="2917">
                      <a:schemeClr val="tx1"/>
                    </a:gs>
                    <a:gs pos="30000">
                      <a:schemeClr val="tx1"/>
                    </a:gs>
                  </a:gsLst>
                  <a:lin ang="5400000" scaled="0"/>
                </a:gradFill>
              </a:rPr>
              <a:t> acts as a USB charger, but also allows Wi-Fi monitoring and keystroke recording</a:t>
            </a:r>
          </a:p>
        </p:txBody>
      </p:sp>
      <p:sp>
        <p:nvSpPr>
          <p:cNvPr id="10" name="TextBox 9"/>
          <p:cNvSpPr txBox="1"/>
          <p:nvPr/>
        </p:nvSpPr>
        <p:spPr>
          <a:xfrm>
            <a:off x="6525785" y="1947925"/>
            <a:ext cx="4857750" cy="849463"/>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The </a:t>
            </a:r>
            <a:r>
              <a:rPr lang="en-US" sz="2000" dirty="0">
                <a:solidFill>
                  <a:schemeClr val="accent5"/>
                </a:solidFill>
              </a:rPr>
              <a:t>KeyGhost</a:t>
            </a:r>
            <a:r>
              <a:rPr lang="en-US" sz="2000" dirty="0">
                <a:gradFill>
                  <a:gsLst>
                    <a:gs pos="2917">
                      <a:schemeClr val="tx1"/>
                    </a:gs>
                    <a:gs pos="30000">
                      <a:schemeClr val="tx1"/>
                    </a:gs>
                  </a:gsLst>
                  <a:lin ang="5400000" scaled="0"/>
                </a:gradFill>
              </a:rPr>
              <a:t> is placed discreetly in the back of a desktop in the Ethernet port</a:t>
            </a:r>
          </a:p>
        </p:txBody>
      </p:sp>
    </p:spTree>
    <p:extLst>
      <p:ext uri="{BB962C8B-B14F-4D97-AF65-F5344CB8AC3E}">
        <p14:creationId xmlns:p14="http://schemas.microsoft.com/office/powerpoint/2010/main" val="347924457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710931"/>
            <a:ext cx="12219706" cy="2162899"/>
          </a:xfrm>
          <a:prstGeom prst="rect">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7410" name="Picture 2" descr="https://www.nyfa.edu/student-resources/wp-content/uploads/2015/12/11735885294_7cf47af78f_b.jpg"/>
          <p:cNvPicPr>
            <a:picLocks noChangeAspect="1" noChangeArrowheads="1"/>
          </p:cNvPicPr>
          <p:nvPr/>
        </p:nvPicPr>
        <p:blipFill rotWithShape="1">
          <a:blip r:embed="rId3">
            <a:extLst>
              <a:ext uri="{28A0092B-C50C-407E-A947-70E740481C1C}">
                <a14:useLocalDpi xmlns:a14="http://schemas.microsoft.com/office/drawing/2010/main" val="0"/>
              </a:ext>
            </a:extLst>
          </a:blip>
          <a:srcRect l="156" t="334" r="-156" b="15984"/>
          <a:stretch/>
        </p:blipFill>
        <p:spPr bwMode="auto">
          <a:xfrm>
            <a:off x="-24916" y="0"/>
            <a:ext cx="12216916" cy="68389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46684" y="2599140"/>
            <a:ext cx="2577616" cy="3811689"/>
          </a:xfrm>
          <a:prstGeom prst="rect">
            <a:avLst/>
          </a:prstGeom>
        </p:spPr>
      </p:pic>
      <p:grpSp>
        <p:nvGrpSpPr>
          <p:cNvPr id="4" name="Group 3"/>
          <p:cNvGrpSpPr/>
          <p:nvPr/>
        </p:nvGrpSpPr>
        <p:grpSpPr>
          <a:xfrm>
            <a:off x="-43097" y="0"/>
            <a:ext cx="12219706" cy="2162899"/>
            <a:chOff x="0" y="3643953"/>
            <a:chExt cx="12219706" cy="2162899"/>
          </a:xfrm>
        </p:grpSpPr>
        <p:sp>
          <p:nvSpPr>
            <p:cNvPr id="5" name="Rectangle 4"/>
            <p:cNvSpPr/>
            <p:nvPr/>
          </p:nvSpPr>
          <p:spPr bwMode="auto">
            <a:xfrm>
              <a:off x="0" y="3643953"/>
              <a:ext cx="12219706" cy="2162899"/>
            </a:xfrm>
            <a:prstGeom prst="rect">
              <a:avLst/>
            </a:prstGeom>
            <a:solidFill>
              <a:srgbClr val="0072C6">
                <a:alpha val="5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0" y="3643953"/>
              <a:ext cx="2486025" cy="216289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Highly orchestrated gang robs a bank with guns</a:t>
              </a:r>
            </a:p>
          </p:txBody>
        </p:sp>
        <p:sp>
          <p:nvSpPr>
            <p:cNvPr id="10" name="TextBox 9"/>
            <p:cNvSpPr txBox="1"/>
            <p:nvPr/>
          </p:nvSpPr>
          <p:spPr>
            <a:xfrm>
              <a:off x="6348168" y="3918643"/>
              <a:ext cx="4473893" cy="1888209"/>
            </a:xfrm>
            <a:prstGeom prst="rect">
              <a:avLst/>
            </a:prstGeom>
            <a:noFill/>
          </p:spPr>
          <p:txBody>
            <a:bodyPr wrap="square" lIns="182880" tIns="146304" rIns="182880" bIns="146304" rtlCol="0">
              <a:spAutoFit/>
            </a:bodyPr>
            <a:lstStyle/>
            <a:p>
              <a:pPr algn="ctr" defTabSz="932472" fontAlgn="base">
                <a:lnSpc>
                  <a:spcPct val="90000"/>
                </a:lnSpc>
                <a:spcBef>
                  <a:spcPct val="0"/>
                </a:spcBef>
                <a:spcAft>
                  <a:spcPct val="0"/>
                </a:spcAft>
              </a:pPr>
              <a:r>
                <a:rPr lang="en-US" sz="11500" b="1" dirty="0">
                  <a:gradFill>
                    <a:gsLst>
                      <a:gs pos="0">
                        <a:srgbClr val="FFFFFF"/>
                      </a:gs>
                      <a:gs pos="100000">
                        <a:srgbClr val="FFFFFF"/>
                      </a:gs>
                    </a:gsLst>
                    <a:lin ang="5400000" scaled="0"/>
                  </a:gradFill>
                  <a:ea typeface="Segoe UI" pitchFamily="34" charset="0"/>
                  <a:cs typeface="Segoe UI" pitchFamily="34" charset="0"/>
                </a:rPr>
                <a:t>$75M</a:t>
              </a:r>
              <a:endParaRPr lang="en-US" sz="6000" dirty="0">
                <a:gradFill>
                  <a:gsLst>
                    <a:gs pos="2917">
                      <a:schemeClr val="tx1"/>
                    </a:gs>
                    <a:gs pos="30000">
                      <a:schemeClr val="tx1"/>
                    </a:gs>
                  </a:gsLst>
                  <a:lin ang="5400000" scaled="0"/>
                </a:gradFill>
              </a:endParaRPr>
            </a:p>
          </p:txBody>
        </p:sp>
        <p:sp>
          <p:nvSpPr>
            <p:cNvPr id="11" name="TextBox 10"/>
            <p:cNvSpPr txBox="1"/>
            <p:nvPr/>
          </p:nvSpPr>
          <p:spPr>
            <a:xfrm>
              <a:off x="10479132" y="4327216"/>
              <a:ext cx="1712868" cy="1071062"/>
            </a:xfrm>
            <a:prstGeom prst="rect">
              <a:avLst/>
            </a:prstGeom>
            <a:noFill/>
          </p:spPr>
          <p:txBody>
            <a:bodyPr wrap="square" lIns="182880" tIns="146304" rIns="182880" bIns="146304" rtlCol="0">
              <a:spAutoFit/>
            </a:bodyPr>
            <a:lstStyle/>
            <a:p>
              <a:pPr algn="ctr" defTabSz="932472" fontAlgn="base">
                <a:lnSpc>
                  <a:spcPct val="90000"/>
                </a:lnSpc>
                <a:spcBef>
                  <a:spcPct val="0"/>
                </a:spcBef>
                <a:spcAft>
                  <a:spcPct val="0"/>
                </a:spcAft>
              </a:pPr>
              <a:r>
                <a:rPr lang="en-US" sz="2800" b="1" dirty="0">
                  <a:gradFill>
                    <a:gsLst>
                      <a:gs pos="0">
                        <a:srgbClr val="FFFFFF"/>
                      </a:gs>
                      <a:gs pos="100000">
                        <a:srgbClr val="FFFFFF"/>
                      </a:gs>
                    </a:gsLst>
                    <a:lin ang="5400000" scaled="0"/>
                  </a:gradFill>
                  <a:ea typeface="Segoe UI" pitchFamily="34" charset="0"/>
                  <a:cs typeface="Segoe UI" pitchFamily="34" charset="0"/>
                </a:rPr>
                <a:t>USD stolen</a:t>
              </a:r>
              <a:endParaRPr lang="en-US" sz="28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4814976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800"/>
              <a:t>Cell phone surveillance</a:t>
            </a:r>
            <a:endParaRPr lang="en-US" sz="4800" dirty="0"/>
          </a:p>
        </p:txBody>
      </p:sp>
      <p:sp>
        <p:nvSpPr>
          <p:cNvPr id="7" name="Oval 6"/>
          <p:cNvSpPr/>
          <p:nvPr/>
        </p:nvSpPr>
        <p:spPr bwMode="auto">
          <a:xfrm>
            <a:off x="309562" y="1619250"/>
            <a:ext cx="4800600" cy="4800600"/>
          </a:xfrm>
          <a:prstGeom prst="ellipse">
            <a:avLst/>
          </a:prstGeom>
          <a:solidFill>
            <a:schemeClr val="bg1">
              <a:lumMod val="95000"/>
            </a:schemeClr>
          </a:solidFill>
          <a:ln>
            <a:solidFill>
              <a:schemeClr val="tx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2532" name="Picture 4" descr="http://images.onset.freedom.com/ocregister/nl33wz-stingray.jpg"/>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42533" y="2785596"/>
            <a:ext cx="4334657" cy="2467908"/>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1668265" y="5332986"/>
            <a:ext cx="2083193" cy="369332"/>
          </a:xfrm>
          <a:prstGeom prst="rect">
            <a:avLst/>
          </a:prstGeom>
        </p:spPr>
        <p:txBody>
          <a:bodyPr wrap="square">
            <a:spAutoFit/>
          </a:bodyPr>
          <a:lstStyle/>
          <a:p>
            <a:pPr algn="ctr"/>
            <a:r>
              <a:rPr lang="en-US" i="1" dirty="0"/>
              <a:t>StingRay</a:t>
            </a:r>
          </a:p>
        </p:txBody>
      </p:sp>
      <p:sp>
        <p:nvSpPr>
          <p:cNvPr id="9" name="Text Placeholder 1"/>
          <p:cNvSpPr>
            <a:spLocks noGrp="1"/>
          </p:cNvSpPr>
          <p:nvPr>
            <p:ph type="body" sz="quarter" idx="10"/>
          </p:nvPr>
        </p:nvSpPr>
        <p:spPr>
          <a:xfrm>
            <a:off x="4877190" y="1488359"/>
            <a:ext cx="7047890" cy="849463"/>
          </a:xfrm>
        </p:spPr>
        <p:txBody>
          <a:bodyPr/>
          <a:lstStyle/>
          <a:p>
            <a:pPr marL="0" indent="0">
              <a:buNone/>
            </a:pPr>
            <a:r>
              <a:rPr lang="en-US" sz="2400" b="1" dirty="0">
                <a:solidFill>
                  <a:schemeClr val="tx1">
                    <a:lumMod val="60000"/>
                    <a:lumOff val="40000"/>
                  </a:schemeClr>
                </a:solidFill>
              </a:rPr>
              <a:t>StingRay has become the generic term for devices that can monitor cell phone usage</a:t>
            </a:r>
            <a:endParaRPr lang="en-US" sz="2800" b="1" dirty="0">
              <a:solidFill>
                <a:schemeClr val="tx1">
                  <a:lumMod val="60000"/>
                  <a:lumOff val="40000"/>
                </a:schemeClr>
              </a:solidFill>
            </a:endParaRPr>
          </a:p>
        </p:txBody>
      </p:sp>
      <p:grpSp>
        <p:nvGrpSpPr>
          <p:cNvPr id="4" name="Group 5"/>
          <p:cNvGrpSpPr/>
          <p:nvPr/>
        </p:nvGrpSpPr>
        <p:grpSpPr>
          <a:xfrm>
            <a:off x="5470050" y="2683476"/>
            <a:ext cx="6455030" cy="616245"/>
            <a:chOff x="5470050" y="2688988"/>
            <a:chExt cx="6455030" cy="616245"/>
          </a:xfrm>
        </p:grpSpPr>
        <p:sp>
          <p:nvSpPr>
            <p:cNvPr id="10" name="Oval 15"/>
            <p:cNvSpPr/>
            <p:nvPr/>
          </p:nvSpPr>
          <p:spPr bwMode="auto">
            <a:xfrm>
              <a:off x="5470050" y="2688988"/>
              <a:ext cx="616245" cy="616245"/>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13" name="Text Placeholder 1"/>
            <p:cNvSpPr txBox="1">
              <a:spLocks/>
            </p:cNvSpPr>
            <p:nvPr/>
          </p:nvSpPr>
          <p:spPr>
            <a:xfrm>
              <a:off x="6116848" y="2766278"/>
              <a:ext cx="5808232" cy="461665"/>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2000" dirty="0">
                  <a:solidFill>
                    <a:schemeClr val="tx1"/>
                  </a:solidFill>
                </a:rPr>
                <a:t>Device mimics a cell phone tower</a:t>
              </a:r>
            </a:p>
          </p:txBody>
        </p:sp>
      </p:grpSp>
      <p:grpSp>
        <p:nvGrpSpPr>
          <p:cNvPr id="5" name="Group 19"/>
          <p:cNvGrpSpPr/>
          <p:nvPr/>
        </p:nvGrpSpPr>
        <p:grpSpPr>
          <a:xfrm>
            <a:off x="5470050" y="3854150"/>
            <a:ext cx="6721950" cy="738664"/>
            <a:chOff x="5470050" y="3747327"/>
            <a:chExt cx="6721950" cy="738664"/>
          </a:xfrm>
        </p:grpSpPr>
        <p:sp>
          <p:nvSpPr>
            <p:cNvPr id="11" name="Oval 20"/>
            <p:cNvSpPr/>
            <p:nvPr/>
          </p:nvSpPr>
          <p:spPr bwMode="auto">
            <a:xfrm>
              <a:off x="5470050" y="3808537"/>
              <a:ext cx="616245" cy="616245"/>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14" name="Text Placeholder 1"/>
            <p:cNvSpPr txBox="1">
              <a:spLocks/>
            </p:cNvSpPr>
            <p:nvPr/>
          </p:nvSpPr>
          <p:spPr>
            <a:xfrm>
              <a:off x="6086295" y="3747327"/>
              <a:ext cx="6105705" cy="738664"/>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2000" dirty="0">
                  <a:solidFill>
                    <a:schemeClr val="tx1"/>
                  </a:solidFill>
                </a:rPr>
                <a:t>Phone connects to StingRay because of perceived greater signal strength than other network towers</a:t>
              </a:r>
            </a:p>
          </p:txBody>
        </p:sp>
      </p:grpSp>
      <p:grpSp>
        <p:nvGrpSpPr>
          <p:cNvPr id="2" name="Group 24"/>
          <p:cNvGrpSpPr/>
          <p:nvPr/>
        </p:nvGrpSpPr>
        <p:grpSpPr>
          <a:xfrm>
            <a:off x="5470050" y="5147244"/>
            <a:ext cx="6455030" cy="738664"/>
            <a:chOff x="5470050" y="5381170"/>
            <a:chExt cx="6455030" cy="738664"/>
          </a:xfrm>
        </p:grpSpPr>
        <p:sp>
          <p:nvSpPr>
            <p:cNvPr id="12" name="Oval 25"/>
            <p:cNvSpPr/>
            <p:nvPr/>
          </p:nvSpPr>
          <p:spPr bwMode="auto">
            <a:xfrm>
              <a:off x="5470050" y="5442380"/>
              <a:ext cx="616245" cy="616245"/>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15" name="Text Placeholder 1"/>
            <p:cNvSpPr txBox="1">
              <a:spLocks/>
            </p:cNvSpPr>
            <p:nvPr/>
          </p:nvSpPr>
          <p:spPr>
            <a:xfrm>
              <a:off x="6116848" y="5381170"/>
              <a:ext cx="5808232" cy="738664"/>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2000" dirty="0">
                  <a:solidFill>
                    <a:schemeClr val="tx1"/>
                  </a:solidFill>
                </a:rPr>
                <a:t>StingRay can track all activity including location of mobile phone</a:t>
              </a:r>
            </a:p>
          </p:txBody>
        </p:sp>
      </p:grpSp>
    </p:spTree>
    <p:extLst>
      <p:ext uri="{BB962C8B-B14F-4D97-AF65-F5344CB8AC3E}">
        <p14:creationId xmlns:p14="http://schemas.microsoft.com/office/powerpoint/2010/main" val="39117232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9030" y="257613"/>
            <a:ext cx="11655840" cy="899665"/>
          </a:xfrm>
        </p:spPr>
        <p:txBody>
          <a:bodyPr/>
          <a:lstStyle/>
          <a:p>
            <a:r>
              <a:rPr lang="en-US" sz="4800" dirty="0"/>
              <a:t>SQL Injection Attack</a:t>
            </a:r>
          </a:p>
        </p:txBody>
      </p:sp>
      <p:sp>
        <p:nvSpPr>
          <p:cNvPr id="4" name="Title 2"/>
          <p:cNvSpPr txBox="1">
            <a:spLocks/>
          </p:cNvSpPr>
          <p:nvPr/>
        </p:nvSpPr>
        <p:spPr>
          <a:xfrm>
            <a:off x="288290" y="1036776"/>
            <a:ext cx="11655840" cy="917346"/>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dirty="0"/>
              <a:t>SQL, Structured Query Language, is the lingua franca of relational databases. </a:t>
            </a:r>
          </a:p>
        </p:txBody>
      </p:sp>
      <p:sp>
        <p:nvSpPr>
          <p:cNvPr id="16" name="Title 2"/>
          <p:cNvSpPr txBox="1">
            <a:spLocks/>
          </p:cNvSpPr>
          <p:nvPr/>
        </p:nvSpPr>
        <p:spPr>
          <a:xfrm>
            <a:off x="6604001" y="2026474"/>
            <a:ext cx="4368799" cy="2712479"/>
          </a:xfrm>
          <a:prstGeom prst="rect">
            <a:avLst/>
          </a:prstGeom>
          <a:solidFill>
            <a:schemeClr val="tx2"/>
          </a:solidFill>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1800" b="1" dirty="0">
                <a:solidFill>
                  <a:schemeClr val="bg1"/>
                </a:solidFill>
                <a:latin typeface="+mn-lt"/>
              </a:rPr>
              <a:t>Create Table Student</a:t>
            </a:r>
            <a:endParaRPr lang="en-US" sz="1800" dirty="0">
              <a:solidFill>
                <a:schemeClr val="bg1"/>
              </a:solidFill>
            </a:endParaRPr>
          </a:p>
          <a:p>
            <a:r>
              <a:rPr lang="en-US" sz="1800" b="1" dirty="0">
                <a:solidFill>
                  <a:schemeClr val="bg1"/>
                </a:solidFill>
                <a:latin typeface="+mn-lt"/>
              </a:rPr>
              <a:t>(	</a:t>
            </a:r>
            <a:endParaRPr lang="en-US" sz="1800" dirty="0">
              <a:solidFill>
                <a:schemeClr val="bg1"/>
              </a:solidFill>
            </a:endParaRPr>
          </a:p>
          <a:p>
            <a:r>
              <a:rPr lang="en-US" sz="1800" dirty="0">
                <a:solidFill>
                  <a:schemeClr val="bg1"/>
                </a:solidFill>
              </a:rPr>
              <a:t>	</a:t>
            </a:r>
            <a:r>
              <a:rPr lang="en-US" sz="1800" b="1" dirty="0">
                <a:solidFill>
                  <a:schemeClr val="bg1"/>
                </a:solidFill>
                <a:latin typeface="+mn-lt"/>
              </a:rPr>
              <a:t>id integer,</a:t>
            </a:r>
            <a:endParaRPr lang="en-US" sz="1800" dirty="0">
              <a:solidFill>
                <a:schemeClr val="bg1"/>
              </a:solidFill>
            </a:endParaRPr>
          </a:p>
          <a:p>
            <a:r>
              <a:rPr lang="en-US" sz="1800" dirty="0">
                <a:solidFill>
                  <a:schemeClr val="bg1"/>
                </a:solidFill>
              </a:rPr>
              <a:t>	</a:t>
            </a:r>
            <a:r>
              <a:rPr lang="en-US" sz="1800" b="1" dirty="0" err="1">
                <a:solidFill>
                  <a:schemeClr val="bg1"/>
                </a:solidFill>
                <a:latin typeface="+mn-lt"/>
              </a:rPr>
              <a:t>first_name</a:t>
            </a:r>
            <a:r>
              <a:rPr lang="en-US" sz="1800" b="1" dirty="0">
                <a:solidFill>
                  <a:schemeClr val="bg1"/>
                </a:solidFill>
                <a:latin typeface="+mn-lt"/>
              </a:rPr>
              <a:t> char(50)</a:t>
            </a:r>
            <a:endParaRPr lang="en-US" sz="1800" dirty="0">
              <a:solidFill>
                <a:schemeClr val="bg1"/>
              </a:solidFill>
            </a:endParaRPr>
          </a:p>
          <a:p>
            <a:r>
              <a:rPr lang="en-US" sz="1800" dirty="0">
                <a:solidFill>
                  <a:schemeClr val="bg1"/>
                </a:solidFill>
              </a:rPr>
              <a:t>	</a:t>
            </a:r>
            <a:r>
              <a:rPr lang="en-US" sz="1800" b="1" dirty="0" err="1">
                <a:solidFill>
                  <a:schemeClr val="bg1"/>
                </a:solidFill>
                <a:latin typeface="+mn-lt"/>
              </a:rPr>
              <a:t>last_name</a:t>
            </a:r>
            <a:r>
              <a:rPr lang="en-US" sz="1800" b="1" dirty="0">
                <a:solidFill>
                  <a:schemeClr val="bg1"/>
                </a:solidFill>
                <a:latin typeface="+mn-lt"/>
              </a:rPr>
              <a:t> char(50)</a:t>
            </a:r>
            <a:endParaRPr lang="en-US" sz="1800" dirty="0">
              <a:solidFill>
                <a:schemeClr val="bg1"/>
              </a:solidFill>
            </a:endParaRPr>
          </a:p>
          <a:p>
            <a:r>
              <a:rPr lang="en-US" sz="1800" b="1" dirty="0">
                <a:solidFill>
                  <a:schemeClr val="bg1"/>
                </a:solidFill>
                <a:latin typeface="+mn-lt"/>
              </a:rPr>
              <a:t>); </a:t>
            </a:r>
            <a:endParaRPr lang="en-US" sz="1800" dirty="0">
              <a:solidFill>
                <a:schemeClr val="bg1"/>
              </a:solidFill>
            </a:endParaRPr>
          </a:p>
          <a:p>
            <a:r>
              <a:rPr lang="en-US" sz="1800" b="1" dirty="0">
                <a:solidFill>
                  <a:schemeClr val="bg1"/>
                </a:solidFill>
                <a:latin typeface="+mn-lt"/>
              </a:rPr>
              <a:t>--creates a tabular store named Student</a:t>
            </a:r>
            <a:endParaRPr lang="en-US" sz="1800" dirty="0">
              <a:solidFill>
                <a:schemeClr val="bg1"/>
              </a:solidFill>
            </a:endParaRPr>
          </a:p>
          <a:p>
            <a:endParaRPr lang="en-US" sz="1800" dirty="0">
              <a:solidFill>
                <a:schemeClr val="bg1"/>
              </a:solidFill>
            </a:endParaRPr>
          </a:p>
          <a:p>
            <a:r>
              <a:rPr lang="en-US" sz="1800" b="1" dirty="0">
                <a:solidFill>
                  <a:schemeClr val="bg1"/>
                </a:solidFill>
                <a:latin typeface="+mn-lt"/>
              </a:rPr>
              <a:t>Update Student (Set </a:t>
            </a:r>
            <a:r>
              <a:rPr lang="en-US" sz="1800" b="1" dirty="0" err="1">
                <a:solidFill>
                  <a:schemeClr val="bg1"/>
                </a:solidFill>
                <a:latin typeface="+mn-lt"/>
              </a:rPr>
              <a:t>first_name</a:t>
            </a:r>
            <a:r>
              <a:rPr lang="en-US" sz="1800" b="1" dirty="0">
                <a:solidFill>
                  <a:schemeClr val="bg1"/>
                </a:solidFill>
                <a:latin typeface="+mn-lt"/>
              </a:rPr>
              <a:t>=‘Sal’);</a:t>
            </a:r>
            <a:endParaRPr lang="en-US" sz="1800" dirty="0">
              <a:solidFill>
                <a:schemeClr val="bg1"/>
              </a:solidFill>
            </a:endParaRPr>
          </a:p>
          <a:p>
            <a:r>
              <a:rPr lang="en-US" sz="1800" b="1" dirty="0">
                <a:solidFill>
                  <a:schemeClr val="bg1"/>
                </a:solidFill>
                <a:latin typeface="+mn-lt"/>
              </a:rPr>
              <a:t>--updates all records to </a:t>
            </a:r>
            <a:r>
              <a:rPr lang="en-US" sz="1800" b="1" dirty="0" err="1">
                <a:solidFill>
                  <a:schemeClr val="bg1"/>
                </a:solidFill>
                <a:latin typeface="+mn-lt"/>
              </a:rPr>
              <a:t>first_name</a:t>
            </a:r>
            <a:r>
              <a:rPr lang="en-US" sz="1800" b="1" dirty="0">
                <a:solidFill>
                  <a:schemeClr val="bg1"/>
                </a:solidFill>
                <a:latin typeface="+mn-lt"/>
              </a:rPr>
              <a:t> of ‘Sal’. </a:t>
            </a:r>
            <a:endParaRPr lang="en-US" sz="1800" dirty="0">
              <a:solidFill>
                <a:schemeClr val="bg1"/>
              </a:solidFill>
            </a:endParaRPr>
          </a:p>
        </p:txBody>
      </p:sp>
      <p:sp>
        <p:nvSpPr>
          <p:cNvPr id="15" name="Rectangle 4"/>
          <p:cNvSpPr/>
          <p:nvPr/>
        </p:nvSpPr>
        <p:spPr>
          <a:xfrm>
            <a:off x="6604001" y="1641362"/>
            <a:ext cx="1987211" cy="369332"/>
          </a:xfrm>
          <a:prstGeom prst="rect">
            <a:avLst/>
          </a:prstGeom>
        </p:spPr>
        <p:txBody>
          <a:bodyPr wrap="none">
            <a:spAutoFit/>
          </a:bodyPr>
          <a:lstStyle/>
          <a:p>
            <a:r>
              <a:rPr lang="en-US" i="1" dirty="0"/>
              <a:t>Basic SQL Syntax: </a:t>
            </a:r>
          </a:p>
        </p:txBody>
      </p:sp>
      <p:sp>
        <p:nvSpPr>
          <p:cNvPr id="36" name="Rectangle 5"/>
          <p:cNvSpPr/>
          <p:nvPr/>
        </p:nvSpPr>
        <p:spPr>
          <a:xfrm>
            <a:off x="6604001" y="4811305"/>
            <a:ext cx="4567827" cy="1200329"/>
          </a:xfrm>
          <a:prstGeom prst="rect">
            <a:avLst/>
          </a:prstGeom>
          <a:noFill/>
        </p:spPr>
        <p:txBody>
          <a:bodyPr wrap="square">
            <a:spAutoFit/>
          </a:bodyPr>
          <a:lstStyle/>
          <a:p>
            <a:r>
              <a:rPr lang="en-US" i="1" dirty="0">
                <a:solidFill>
                  <a:schemeClr val="tx1">
                    <a:lumMod val="60000"/>
                    <a:lumOff val="40000"/>
                  </a:schemeClr>
                </a:solidFill>
              </a:rPr>
              <a:t>Now, imagine what could go wrong with a web form that saves data to a database if the form’s input fields were mapped to SQL in a naïve way. </a:t>
            </a:r>
          </a:p>
        </p:txBody>
      </p:sp>
      <p:sp>
        <p:nvSpPr>
          <p:cNvPr id="24" name="Rectangle 4"/>
          <p:cNvSpPr/>
          <p:nvPr/>
        </p:nvSpPr>
        <p:spPr>
          <a:xfrm>
            <a:off x="1504950" y="2086894"/>
            <a:ext cx="4572000" cy="707886"/>
          </a:xfrm>
          <a:prstGeom prst="rect">
            <a:avLst/>
          </a:prstGeom>
        </p:spPr>
        <p:txBody>
          <a:bodyPr wrap="square">
            <a:spAutoFit/>
          </a:bodyPr>
          <a:lstStyle/>
          <a:p>
            <a:r>
              <a:rPr lang="en-US" sz="2000" dirty="0">
                <a:solidFill>
                  <a:schemeClr val="tx1">
                    <a:lumMod val="60000"/>
                    <a:lumOff val="40000"/>
                  </a:schemeClr>
                </a:solidFill>
              </a:rPr>
              <a:t>Web forms likely have a SQL Database that stores user information</a:t>
            </a:r>
          </a:p>
        </p:txBody>
      </p:sp>
      <p:sp>
        <p:nvSpPr>
          <p:cNvPr id="25" name="Rectangle 4"/>
          <p:cNvSpPr/>
          <p:nvPr/>
        </p:nvSpPr>
        <p:spPr>
          <a:xfrm>
            <a:off x="1504950" y="3308254"/>
            <a:ext cx="4572000" cy="1015663"/>
          </a:xfrm>
          <a:prstGeom prst="rect">
            <a:avLst/>
          </a:prstGeom>
        </p:spPr>
        <p:txBody>
          <a:bodyPr wrap="square">
            <a:spAutoFit/>
          </a:bodyPr>
          <a:lstStyle/>
          <a:p>
            <a:r>
              <a:rPr lang="en-US" sz="2000" dirty="0">
                <a:solidFill>
                  <a:schemeClr val="tx1">
                    <a:lumMod val="60000"/>
                    <a:lumOff val="40000"/>
                  </a:schemeClr>
                </a:solidFill>
              </a:rPr>
              <a:t>Users access these tables when they setup an account or want to change their demographic data</a:t>
            </a:r>
          </a:p>
        </p:txBody>
      </p:sp>
      <p:sp>
        <p:nvSpPr>
          <p:cNvPr id="26" name="Rectangle 4"/>
          <p:cNvSpPr/>
          <p:nvPr/>
        </p:nvSpPr>
        <p:spPr>
          <a:xfrm>
            <a:off x="1504950" y="4799373"/>
            <a:ext cx="4572000" cy="923330"/>
          </a:xfrm>
          <a:prstGeom prst="rect">
            <a:avLst/>
          </a:prstGeom>
        </p:spPr>
        <p:txBody>
          <a:bodyPr wrap="square">
            <a:spAutoFit/>
          </a:bodyPr>
          <a:lstStyle/>
          <a:p>
            <a:pPr defTabSz="932472" fontAlgn="base">
              <a:lnSpc>
                <a:spcPct val="90000"/>
              </a:lnSpc>
              <a:spcBef>
                <a:spcPct val="0"/>
              </a:spcBef>
              <a:spcAft>
                <a:spcPct val="0"/>
              </a:spcAft>
            </a:pPr>
            <a:r>
              <a:rPr lang="en-US" sz="2000" dirty="0">
                <a:solidFill>
                  <a:schemeClr val="tx1">
                    <a:lumMod val="60000"/>
                    <a:lumOff val="40000"/>
                  </a:schemeClr>
                </a:solidFill>
                <a:ea typeface="Segoe UI" pitchFamily="34" charset="0"/>
                <a:cs typeface="Segoe UI" pitchFamily="34" charset="0"/>
              </a:rPr>
              <a:t>When a SQL Database isn’t structured correctly, users can manipulate a table using commands in the input field</a:t>
            </a:r>
          </a:p>
        </p:txBody>
      </p:sp>
      <p:sp>
        <p:nvSpPr>
          <p:cNvPr id="27" name="Freeform 26"/>
          <p:cNvSpPr>
            <a:spLocks noChangeAspect="1"/>
          </p:cNvSpPr>
          <p:nvPr/>
        </p:nvSpPr>
        <p:spPr bwMode="black">
          <a:xfrm>
            <a:off x="754631" y="2135853"/>
            <a:ext cx="603816" cy="421443"/>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Freeform 48"/>
          <p:cNvSpPr>
            <a:spLocks noChangeAspect="1"/>
          </p:cNvSpPr>
          <p:nvPr/>
        </p:nvSpPr>
        <p:spPr bwMode="black">
          <a:xfrm>
            <a:off x="730158" y="3458913"/>
            <a:ext cx="645491" cy="56637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bg1">
              <a:lumMod val="85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29"/>
          <p:cNvSpPr>
            <a:spLocks noChangeAspect="1"/>
          </p:cNvSpPr>
          <p:nvPr/>
        </p:nvSpPr>
        <p:spPr bwMode="black">
          <a:xfrm>
            <a:off x="825499" y="4946356"/>
            <a:ext cx="475797" cy="540267"/>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911" tIns="75929" rIns="94911" bIns="75929" numCol="1" spcCol="0" rtlCol="0" fromWordArt="0" anchor="t" anchorCtr="0" forceAA="0" compatLnSpc="1">
            <a:prstTxWarp prst="textNoShape">
              <a:avLst/>
            </a:prstTxWarp>
            <a:noAutofit/>
          </a:bodyPr>
          <a:lstStyle/>
          <a:p>
            <a:pPr algn="ctr" defTabSz="483924" fontAlgn="base">
              <a:lnSpc>
                <a:spcPct val="90000"/>
              </a:lnSpc>
              <a:spcBef>
                <a:spcPct val="0"/>
              </a:spcBef>
              <a:spcAft>
                <a:spcPct val="0"/>
              </a:spcAft>
            </a:pPr>
            <a:endParaRPr lang="en-US" sz="1246"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8548448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5" name="Rectangle 13"/>
          <p:cNvSpPr/>
          <p:nvPr/>
        </p:nvSpPr>
        <p:spPr bwMode="auto">
          <a:xfrm>
            <a:off x="0" y="1189176"/>
            <a:ext cx="12192000" cy="49606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sz="4800" dirty="0"/>
              <a:t>Story of Little Bobby Tables</a:t>
            </a:r>
          </a:p>
        </p:txBody>
      </p:sp>
      <p:grpSp>
        <p:nvGrpSpPr>
          <p:cNvPr id="10" name="Group 9"/>
          <p:cNvGrpSpPr/>
          <p:nvPr/>
        </p:nvGrpSpPr>
        <p:grpSpPr>
          <a:xfrm>
            <a:off x="601235" y="1695450"/>
            <a:ext cx="10991850" cy="3992815"/>
            <a:chOff x="601235" y="1695450"/>
            <a:chExt cx="10991850" cy="3992815"/>
          </a:xfrm>
        </p:grpSpPr>
        <p:grpSp>
          <p:nvGrpSpPr>
            <p:cNvPr id="4" name="Group 3"/>
            <p:cNvGrpSpPr/>
            <p:nvPr/>
          </p:nvGrpSpPr>
          <p:grpSpPr>
            <a:xfrm>
              <a:off x="601235" y="1695450"/>
              <a:ext cx="10991850" cy="3924300"/>
              <a:chOff x="762000" y="1524000"/>
              <a:chExt cx="10991850" cy="3924300"/>
            </a:xfrm>
          </p:grpSpPr>
          <p:sp>
            <p:nvSpPr>
              <p:cNvPr id="2" name="Rectangle 1"/>
              <p:cNvSpPr/>
              <p:nvPr/>
            </p:nvSpPr>
            <p:spPr bwMode="auto">
              <a:xfrm>
                <a:off x="762000" y="1524000"/>
                <a:ext cx="10991850" cy="39243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0482" name="Picture 2" descr="http://imgs.xkcd.com/comics/exploits_of_a_mom.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7598" y="1901825"/>
                <a:ext cx="10345823" cy="3184525"/>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TextBox 4"/>
            <p:cNvSpPr txBox="1"/>
            <p:nvPr/>
          </p:nvSpPr>
          <p:spPr>
            <a:xfrm>
              <a:off x="5143500" y="5143500"/>
              <a:ext cx="6297185" cy="544765"/>
            </a:xfrm>
            <a:prstGeom prst="rect">
              <a:avLst/>
            </a:prstGeom>
            <a:noFill/>
          </p:spPr>
          <p:txBody>
            <a:bodyPr wrap="square" lIns="182880" tIns="146304" rIns="182880" bIns="146304" rtlCol="0">
              <a:spAutoFit/>
            </a:bodyPr>
            <a:lstStyle/>
            <a:p>
              <a:pPr algn="r">
                <a:lnSpc>
                  <a:spcPct val="90000"/>
                </a:lnSpc>
                <a:spcAft>
                  <a:spcPts val="600"/>
                </a:spcAft>
              </a:pPr>
              <a:r>
                <a:rPr lang="en-US" dirty="0">
                  <a:solidFill>
                    <a:schemeClr val="bg1"/>
                  </a:solidFill>
                </a:rPr>
                <a:t>Created by Randall Munroe</a:t>
              </a:r>
            </a:p>
          </p:txBody>
        </p:sp>
        <p:sp>
          <p:nvSpPr>
            <p:cNvPr id="6" name="Rectangle 5"/>
            <p:cNvSpPr/>
            <p:nvPr/>
          </p:nvSpPr>
          <p:spPr bwMode="auto">
            <a:xfrm>
              <a:off x="8330192" y="2073274"/>
              <a:ext cx="182880" cy="3200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601235" y="1733550"/>
              <a:ext cx="10839450" cy="3657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669069" y="5182202"/>
              <a:ext cx="10839450" cy="9144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800100" y="1916430"/>
              <a:ext cx="135890" cy="335721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8434332" y="1916430"/>
              <a:ext cx="135890" cy="335721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11178894" y="1902004"/>
              <a:ext cx="135890" cy="335721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6627785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6624735" y="3503226"/>
            <a:ext cx="5001208" cy="732872"/>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sz="4800" dirty="0"/>
              <a:t>SQL Injection Attack: Countermeasure</a:t>
            </a:r>
          </a:p>
        </p:txBody>
      </p:sp>
      <p:sp>
        <p:nvSpPr>
          <p:cNvPr id="6" name="Rectangle 5"/>
          <p:cNvSpPr/>
          <p:nvPr/>
        </p:nvSpPr>
        <p:spPr bwMode="auto">
          <a:xfrm>
            <a:off x="325223" y="1392022"/>
            <a:ext cx="4806613" cy="133033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800" dirty="0" err="1">
              <a:solidFill>
                <a:schemeClr val="bg1"/>
              </a:solidFill>
              <a:latin typeface="+mj-lt"/>
              <a:ea typeface="Segoe UI" pitchFamily="34" charset="0"/>
              <a:cs typeface="Segoe UI" pitchFamily="34" charset="0"/>
            </a:endParaRPr>
          </a:p>
        </p:txBody>
      </p:sp>
      <p:sp>
        <p:nvSpPr>
          <p:cNvPr id="7" name="Isosceles Triangle 6"/>
          <p:cNvSpPr/>
          <p:nvPr/>
        </p:nvSpPr>
        <p:spPr bwMode="auto">
          <a:xfrm rot="10800000">
            <a:off x="606216" y="2382033"/>
            <a:ext cx="1044773" cy="781599"/>
          </a:xfrm>
          <a:prstGeom prst="triangle">
            <a:avLst>
              <a:gd name="adj" fmla="val 9523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800" dirty="0" err="1">
              <a:solidFill>
                <a:schemeClr val="bg1"/>
              </a:solidFill>
              <a:latin typeface="+mj-lt"/>
              <a:ea typeface="Segoe UI" pitchFamily="34" charset="0"/>
              <a:cs typeface="Segoe UI" pitchFamily="34" charset="0"/>
            </a:endParaRPr>
          </a:p>
        </p:txBody>
      </p:sp>
      <p:sp>
        <p:nvSpPr>
          <p:cNvPr id="8" name="TextBox 7"/>
          <p:cNvSpPr txBox="1"/>
          <p:nvPr/>
        </p:nvSpPr>
        <p:spPr>
          <a:xfrm>
            <a:off x="384953" y="1529879"/>
            <a:ext cx="5198988" cy="1071062"/>
          </a:xfrm>
          <a:prstGeom prst="rect">
            <a:avLst/>
          </a:prstGeom>
          <a:noFill/>
        </p:spPr>
        <p:txBody>
          <a:bodyPr wrap="square" lIns="182880" tIns="146304" rIns="182880" bIns="146304" rtlCol="0">
            <a:spAutoFit/>
          </a:bodyPr>
          <a:lstStyle/>
          <a:p>
            <a:pPr>
              <a:lnSpc>
                <a:spcPct val="90000"/>
              </a:lnSpc>
              <a:spcAft>
                <a:spcPts val="600"/>
              </a:spcAft>
            </a:pPr>
            <a:r>
              <a:rPr lang="en-US" sz="2800" b="1" dirty="0">
                <a:solidFill>
                  <a:schemeClr val="bg1"/>
                </a:solidFill>
                <a:latin typeface="+mj-lt"/>
              </a:rPr>
              <a:t>Question:  </a:t>
            </a:r>
            <a:r>
              <a:rPr lang="en-US" sz="2800" dirty="0">
                <a:solidFill>
                  <a:schemeClr val="bg1"/>
                </a:solidFill>
                <a:latin typeface="+mj-lt"/>
              </a:rPr>
              <a:t>How can we best block a SQL Injection Attack?</a:t>
            </a:r>
          </a:p>
        </p:txBody>
      </p:sp>
      <p:sp>
        <p:nvSpPr>
          <p:cNvPr id="16" name="TextBox 15"/>
          <p:cNvSpPr txBox="1"/>
          <p:nvPr/>
        </p:nvSpPr>
        <p:spPr>
          <a:xfrm>
            <a:off x="6451123" y="1853062"/>
            <a:ext cx="5350265" cy="3988784"/>
          </a:xfrm>
          <a:prstGeom prst="rect">
            <a:avLst/>
          </a:prstGeom>
          <a:noFill/>
          <a:ln>
            <a:solidFill>
              <a:schemeClr val="tx2"/>
            </a:solidFill>
          </a:ln>
        </p:spPr>
        <p:txBody>
          <a:bodyPr wrap="square" lIns="182880" tIns="146304" rIns="182880" bIns="146304" rtlCol="0">
            <a:spAutoFit/>
          </a:bodyPr>
          <a:lstStyle/>
          <a:p>
            <a:r>
              <a:rPr lang="en-US" sz="1600" dirty="0">
                <a:solidFill>
                  <a:schemeClr val="bg1">
                    <a:lumMod val="50000"/>
                  </a:schemeClr>
                </a:solidFill>
              </a:rPr>
              <a:t>String query = </a:t>
            </a:r>
          </a:p>
          <a:p>
            <a:r>
              <a:rPr lang="en-US" sz="1600" dirty="0">
                <a:solidFill>
                  <a:schemeClr val="bg1">
                    <a:lumMod val="50000"/>
                  </a:schemeClr>
                </a:solidFill>
              </a:rPr>
              <a:t> 	 "SELECT </a:t>
            </a:r>
            <a:r>
              <a:rPr lang="en-US" sz="1600" dirty="0" err="1">
                <a:solidFill>
                  <a:schemeClr val="bg1">
                    <a:lumMod val="50000"/>
                  </a:schemeClr>
                </a:solidFill>
              </a:rPr>
              <a:t>account_balance</a:t>
            </a:r>
            <a:r>
              <a:rPr lang="en-US" sz="1600" dirty="0">
                <a:solidFill>
                  <a:schemeClr val="bg1">
                    <a:lumMod val="50000"/>
                  </a:schemeClr>
                </a:solidFill>
              </a:rPr>
              <a:t> FROM </a:t>
            </a:r>
            <a:r>
              <a:rPr lang="en-US" sz="1600" dirty="0" err="1">
                <a:solidFill>
                  <a:schemeClr val="bg1">
                    <a:lumMod val="50000"/>
                  </a:schemeClr>
                </a:solidFill>
              </a:rPr>
              <a:t>user_data</a:t>
            </a:r>
            <a:r>
              <a:rPr lang="en-US" sz="1600" dirty="0">
                <a:solidFill>
                  <a:schemeClr val="bg1">
                    <a:lumMod val="50000"/>
                  </a:schemeClr>
                </a:solidFill>
              </a:rPr>
              <a:t> WHERE </a:t>
            </a:r>
            <a:r>
              <a:rPr lang="en-US" sz="1600" dirty="0" err="1">
                <a:solidFill>
                  <a:schemeClr val="bg1">
                    <a:lumMod val="50000"/>
                  </a:schemeClr>
                </a:solidFill>
              </a:rPr>
              <a:t>user_name</a:t>
            </a:r>
            <a:r>
              <a:rPr lang="en-US" sz="1600" dirty="0">
                <a:solidFill>
                  <a:schemeClr val="bg1">
                    <a:lumMod val="50000"/>
                  </a:schemeClr>
                </a:solidFill>
              </a:rPr>
              <a:t> = ?";</a:t>
            </a:r>
          </a:p>
          <a:p>
            <a:r>
              <a:rPr lang="en-US" sz="1600" dirty="0">
                <a:solidFill>
                  <a:schemeClr val="bg1">
                    <a:lumMod val="50000"/>
                  </a:schemeClr>
                </a:solidFill>
              </a:rPr>
              <a:t> try {</a:t>
            </a:r>
          </a:p>
          <a:p>
            <a:r>
              <a:rPr lang="en-US" sz="1600" dirty="0">
                <a:solidFill>
                  <a:schemeClr val="bg1">
                    <a:lumMod val="50000"/>
                  </a:schemeClr>
                </a:solidFill>
              </a:rPr>
              <a:t> 	</a:t>
            </a:r>
            <a:r>
              <a:rPr lang="en-US" sz="1600" dirty="0" err="1">
                <a:solidFill>
                  <a:schemeClr val="bg1">
                    <a:lumMod val="50000"/>
                  </a:schemeClr>
                </a:solidFill>
              </a:rPr>
              <a:t>OleDbCommand</a:t>
            </a:r>
            <a:r>
              <a:rPr lang="en-US" sz="1600" dirty="0">
                <a:solidFill>
                  <a:schemeClr val="bg1">
                    <a:lumMod val="50000"/>
                  </a:schemeClr>
                </a:solidFill>
              </a:rPr>
              <a:t> command = new </a:t>
            </a:r>
            <a:r>
              <a:rPr lang="en-US" sz="1600" dirty="0" err="1">
                <a:solidFill>
                  <a:schemeClr val="bg1">
                    <a:lumMod val="50000"/>
                  </a:schemeClr>
                </a:solidFill>
              </a:rPr>
              <a:t>OleDbCommand</a:t>
            </a:r>
            <a:r>
              <a:rPr lang="en-US" sz="1600" dirty="0">
                <a:solidFill>
                  <a:schemeClr val="bg1">
                    <a:lumMod val="50000"/>
                  </a:schemeClr>
                </a:solidFill>
              </a:rPr>
              <a:t>(query, connection);</a:t>
            </a:r>
          </a:p>
          <a:p>
            <a:r>
              <a:rPr lang="en-US" sz="1600" dirty="0">
                <a:solidFill>
                  <a:schemeClr val="bg1">
                    <a:lumMod val="50000"/>
                  </a:schemeClr>
                </a:solidFill>
              </a:rPr>
              <a:t> 	</a:t>
            </a:r>
            <a:r>
              <a:rPr lang="en-US" sz="1600" b="1" dirty="0" err="1">
                <a:solidFill>
                  <a:schemeClr val="bg1">
                    <a:lumMod val="50000"/>
                  </a:schemeClr>
                </a:solidFill>
              </a:rPr>
              <a:t>command.Parameters.Add</a:t>
            </a:r>
            <a:r>
              <a:rPr lang="en-US" sz="1600" b="1" dirty="0">
                <a:solidFill>
                  <a:schemeClr val="bg1">
                    <a:lumMod val="50000"/>
                  </a:schemeClr>
                </a:solidFill>
              </a:rPr>
              <a:t>(new </a:t>
            </a:r>
            <a:r>
              <a:rPr lang="en-US" sz="1600" b="1" dirty="0" err="1">
                <a:solidFill>
                  <a:schemeClr val="bg1">
                    <a:lumMod val="50000"/>
                  </a:schemeClr>
                </a:solidFill>
              </a:rPr>
              <a:t>OleDbParameter</a:t>
            </a:r>
            <a:r>
              <a:rPr lang="en-US" sz="1600" b="1" dirty="0">
                <a:solidFill>
                  <a:schemeClr val="bg1">
                    <a:lumMod val="50000"/>
                  </a:schemeClr>
                </a:solidFill>
              </a:rPr>
              <a:t>("</a:t>
            </a:r>
            <a:r>
              <a:rPr lang="en-US" sz="1600" b="1" dirty="0" err="1">
                <a:solidFill>
                  <a:schemeClr val="bg1">
                    <a:lumMod val="50000"/>
                  </a:schemeClr>
                </a:solidFill>
              </a:rPr>
              <a:t>customerName</a:t>
            </a:r>
            <a:r>
              <a:rPr lang="en-US" sz="1600" b="1" dirty="0">
                <a:solidFill>
                  <a:schemeClr val="bg1">
                    <a:lumMod val="50000"/>
                  </a:schemeClr>
                </a:solidFill>
              </a:rPr>
              <a:t>", </a:t>
            </a:r>
            <a:r>
              <a:rPr lang="en-US" sz="1600" b="1" dirty="0" err="1">
                <a:solidFill>
                  <a:schemeClr val="bg1">
                    <a:lumMod val="50000"/>
                  </a:schemeClr>
                </a:solidFill>
              </a:rPr>
              <a:t>CustomerName</a:t>
            </a:r>
            <a:r>
              <a:rPr lang="en-US" sz="1600" b="1" dirty="0">
                <a:solidFill>
                  <a:schemeClr val="bg1">
                    <a:lumMod val="50000"/>
                  </a:schemeClr>
                </a:solidFill>
              </a:rPr>
              <a:t> </a:t>
            </a:r>
            <a:r>
              <a:rPr lang="en-US" sz="1600" b="1" dirty="0" err="1">
                <a:solidFill>
                  <a:schemeClr val="bg1">
                    <a:lumMod val="50000"/>
                  </a:schemeClr>
                </a:solidFill>
              </a:rPr>
              <a:t>Name.Text</a:t>
            </a:r>
            <a:r>
              <a:rPr lang="en-US" sz="1600" b="1" dirty="0">
                <a:solidFill>
                  <a:schemeClr val="bg1">
                    <a:lumMod val="50000"/>
                  </a:schemeClr>
                </a:solidFill>
              </a:rPr>
              <a:t>));</a:t>
            </a:r>
            <a:endParaRPr lang="en-US" sz="1600" dirty="0">
              <a:solidFill>
                <a:schemeClr val="bg1">
                  <a:lumMod val="50000"/>
                </a:schemeClr>
              </a:solidFill>
            </a:endParaRPr>
          </a:p>
          <a:p>
            <a:r>
              <a:rPr lang="en-US" sz="1600" dirty="0">
                <a:solidFill>
                  <a:schemeClr val="bg1">
                    <a:lumMod val="50000"/>
                  </a:schemeClr>
                </a:solidFill>
              </a:rPr>
              <a:t> 	</a:t>
            </a:r>
            <a:r>
              <a:rPr lang="en-US" sz="1600" dirty="0" err="1">
                <a:solidFill>
                  <a:schemeClr val="bg1">
                    <a:lumMod val="50000"/>
                  </a:schemeClr>
                </a:solidFill>
              </a:rPr>
              <a:t>OleDbDataReader</a:t>
            </a:r>
            <a:r>
              <a:rPr lang="en-US" sz="1600" dirty="0">
                <a:solidFill>
                  <a:schemeClr val="bg1">
                    <a:lumMod val="50000"/>
                  </a:schemeClr>
                </a:solidFill>
              </a:rPr>
              <a:t> reader = </a:t>
            </a:r>
            <a:r>
              <a:rPr lang="en-US" sz="1600" dirty="0" err="1">
                <a:solidFill>
                  <a:schemeClr val="bg1">
                    <a:lumMod val="50000"/>
                  </a:schemeClr>
                </a:solidFill>
              </a:rPr>
              <a:t>command.ExecuteReader</a:t>
            </a:r>
            <a:r>
              <a:rPr lang="en-US" sz="1600" dirty="0">
                <a:solidFill>
                  <a:schemeClr val="bg1">
                    <a:lumMod val="50000"/>
                  </a:schemeClr>
                </a:solidFill>
              </a:rPr>
              <a:t>();</a:t>
            </a:r>
          </a:p>
          <a:p>
            <a:r>
              <a:rPr lang="en-US" sz="1600" dirty="0">
                <a:solidFill>
                  <a:schemeClr val="bg1">
                    <a:lumMod val="50000"/>
                  </a:schemeClr>
                </a:solidFill>
              </a:rPr>
              <a:t> 	// …</a:t>
            </a:r>
          </a:p>
          <a:p>
            <a:r>
              <a:rPr lang="en-US" sz="1600" dirty="0">
                <a:solidFill>
                  <a:schemeClr val="bg1">
                    <a:lumMod val="50000"/>
                  </a:schemeClr>
                </a:solidFill>
              </a:rPr>
              <a:t> } catch (</a:t>
            </a:r>
            <a:r>
              <a:rPr lang="en-US" sz="1600" dirty="0" err="1">
                <a:solidFill>
                  <a:schemeClr val="bg1">
                    <a:lumMod val="50000"/>
                  </a:schemeClr>
                </a:solidFill>
              </a:rPr>
              <a:t>OleDbException</a:t>
            </a:r>
            <a:r>
              <a:rPr lang="en-US" sz="1600" dirty="0">
                <a:solidFill>
                  <a:schemeClr val="bg1">
                    <a:lumMod val="50000"/>
                  </a:schemeClr>
                </a:solidFill>
              </a:rPr>
              <a:t> se) {</a:t>
            </a:r>
          </a:p>
          <a:p>
            <a:r>
              <a:rPr lang="en-US" sz="1600" dirty="0">
                <a:solidFill>
                  <a:schemeClr val="bg1">
                    <a:lumMod val="50000"/>
                  </a:schemeClr>
                </a:solidFill>
              </a:rPr>
              <a:t> 	// error handling</a:t>
            </a:r>
          </a:p>
          <a:p>
            <a:r>
              <a:rPr lang="en-US" sz="1600" dirty="0">
                <a:solidFill>
                  <a:schemeClr val="bg1">
                    <a:lumMod val="50000"/>
                  </a:schemeClr>
                </a:solidFill>
              </a:rPr>
              <a:t> } </a:t>
            </a:r>
          </a:p>
        </p:txBody>
      </p:sp>
      <p:sp>
        <p:nvSpPr>
          <p:cNvPr id="17" name="TextBox 16"/>
          <p:cNvSpPr txBox="1"/>
          <p:nvPr/>
        </p:nvSpPr>
        <p:spPr>
          <a:xfrm>
            <a:off x="6413801" y="1063038"/>
            <a:ext cx="5350265" cy="960263"/>
          </a:xfrm>
          <a:prstGeom prst="rect">
            <a:avLst/>
          </a:prstGeom>
          <a:noFill/>
        </p:spPr>
        <p:txBody>
          <a:bodyPr wrap="square" lIns="182880" tIns="146304" rIns="182880" bIns="146304" rtlCol="0">
            <a:spAutoFit/>
          </a:bodyPr>
          <a:lstStyle/>
          <a:p>
            <a:pPr algn="ctr">
              <a:lnSpc>
                <a:spcPct val="90000"/>
              </a:lnSpc>
              <a:spcAft>
                <a:spcPts val="600"/>
              </a:spcAft>
            </a:pPr>
            <a:r>
              <a:rPr lang="en-US" sz="2400" i="1" dirty="0">
                <a:gradFill>
                  <a:gsLst>
                    <a:gs pos="2917">
                      <a:schemeClr val="tx1"/>
                    </a:gs>
                    <a:gs pos="30000">
                      <a:schemeClr val="tx1"/>
                    </a:gs>
                  </a:gsLst>
                  <a:lin ang="5400000" scaled="0"/>
                </a:gradFill>
              </a:rPr>
              <a:t>Example code that prevents SQL Injection hacking</a:t>
            </a:r>
            <a:endParaRPr lang="en-US" i="1" dirty="0">
              <a:gradFill>
                <a:gsLst>
                  <a:gs pos="2917">
                    <a:schemeClr val="tx1"/>
                  </a:gs>
                  <a:gs pos="30000">
                    <a:schemeClr val="tx1"/>
                  </a:gs>
                </a:gsLst>
                <a:lin ang="5400000" scaled="0"/>
              </a:gradFill>
            </a:endParaRPr>
          </a:p>
        </p:txBody>
      </p:sp>
      <p:grpSp>
        <p:nvGrpSpPr>
          <p:cNvPr id="2" name="Group 1"/>
          <p:cNvGrpSpPr/>
          <p:nvPr/>
        </p:nvGrpSpPr>
        <p:grpSpPr>
          <a:xfrm>
            <a:off x="722864" y="3480519"/>
            <a:ext cx="5038437" cy="3221714"/>
            <a:chOff x="722864" y="3480519"/>
            <a:chExt cx="5038437" cy="3221714"/>
          </a:xfrm>
        </p:grpSpPr>
        <p:sp>
          <p:nvSpPr>
            <p:cNvPr id="24" name="Isosceles Triangle 23"/>
            <p:cNvSpPr/>
            <p:nvPr/>
          </p:nvSpPr>
          <p:spPr bwMode="auto">
            <a:xfrm rot="10800000" flipH="1">
              <a:off x="4595459" y="5920634"/>
              <a:ext cx="770765" cy="781599"/>
            </a:xfrm>
            <a:prstGeom prst="triangle">
              <a:avLst>
                <a:gd name="adj" fmla="val 9523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800"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3" name="Rectangle 22"/>
            <p:cNvSpPr/>
            <p:nvPr/>
          </p:nvSpPr>
          <p:spPr bwMode="auto">
            <a:xfrm>
              <a:off x="722864" y="3480519"/>
              <a:ext cx="5038437" cy="26590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800"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4" name="TextBox 13"/>
            <p:cNvSpPr txBox="1"/>
            <p:nvPr/>
          </p:nvSpPr>
          <p:spPr>
            <a:xfrm>
              <a:off x="722865" y="3517654"/>
              <a:ext cx="5038435" cy="1458861"/>
            </a:xfrm>
            <a:prstGeom prst="rect">
              <a:avLst/>
            </a:prstGeom>
            <a:noFill/>
          </p:spPr>
          <p:txBody>
            <a:bodyPr wrap="square" lIns="182880" tIns="146304" rIns="182880" bIns="146304" rtlCol="0">
              <a:spAutoFit/>
            </a:bodyPr>
            <a:lstStyle/>
            <a:p>
              <a:pPr>
                <a:lnSpc>
                  <a:spcPct val="90000"/>
                </a:lnSpc>
                <a:spcAft>
                  <a:spcPts val="600"/>
                </a:spcAft>
              </a:pPr>
              <a:r>
                <a:rPr lang="en-US" sz="2800" b="1" dirty="0">
                  <a:solidFill>
                    <a:schemeClr val="bg1">
                      <a:lumMod val="50000"/>
                    </a:schemeClr>
                  </a:solidFill>
                  <a:latin typeface="+mj-lt"/>
                </a:rPr>
                <a:t>Answer: </a:t>
              </a:r>
              <a:r>
                <a:rPr lang="en-US" sz="2800" dirty="0">
                  <a:gradFill>
                    <a:gsLst>
                      <a:gs pos="2917">
                        <a:schemeClr val="tx1"/>
                      </a:gs>
                      <a:gs pos="30000">
                        <a:schemeClr val="tx1"/>
                      </a:gs>
                    </a:gsLst>
                    <a:lin ang="5400000" scaled="0"/>
                  </a:gradFill>
                  <a:latin typeface="+mj-lt"/>
                </a:rPr>
                <a:t>As long as the site uses a </a:t>
              </a:r>
              <a:r>
                <a:rPr lang="en-US" sz="2800" dirty="0">
                  <a:solidFill>
                    <a:schemeClr val="tx2"/>
                  </a:solidFill>
                  <a:latin typeface="+mj-lt"/>
                </a:rPr>
                <a:t>modern type-safe language</a:t>
              </a:r>
              <a:r>
                <a:rPr lang="en-US" sz="2800" dirty="0">
                  <a:gradFill>
                    <a:gsLst>
                      <a:gs pos="2917">
                        <a:schemeClr val="tx1"/>
                      </a:gs>
                      <a:gs pos="30000">
                        <a:schemeClr val="tx1"/>
                      </a:gs>
                    </a:gsLst>
                    <a:lin ang="5400000" scaled="0"/>
                  </a:gradFill>
                  <a:latin typeface="+mj-lt"/>
                </a:rPr>
                <a:t>, you’re safe. </a:t>
              </a:r>
            </a:p>
          </p:txBody>
        </p:sp>
        <p:sp>
          <p:nvSpPr>
            <p:cNvPr id="20" name="Rectangle 19"/>
            <p:cNvSpPr/>
            <p:nvPr/>
          </p:nvSpPr>
          <p:spPr>
            <a:xfrm>
              <a:off x="1650989" y="5320724"/>
              <a:ext cx="2016345" cy="707886"/>
            </a:xfrm>
            <a:prstGeom prst="rect">
              <a:avLst/>
            </a:prstGeom>
          </p:spPr>
          <p:txBody>
            <a:bodyPr wrap="square">
              <a:spAutoFit/>
            </a:bodyPr>
            <a:lstStyle/>
            <a:p>
              <a:pPr marL="285750" indent="-285750">
                <a:buFont typeface="Wingdings" panose="05000000000000000000" pitchFamily="2" charset="2"/>
                <a:buChar char="ü"/>
              </a:pPr>
              <a:r>
                <a:rPr lang="en-US" sz="2000" dirty="0">
                  <a:solidFill>
                    <a:schemeClr val="bg1">
                      <a:lumMod val="50000"/>
                    </a:schemeClr>
                  </a:solidFill>
                  <a:latin typeface="+mj-lt"/>
                </a:rPr>
                <a:t>Java EE</a:t>
              </a:r>
            </a:p>
            <a:p>
              <a:pPr marL="285750" indent="-285750">
                <a:buFont typeface="Wingdings" panose="05000000000000000000" pitchFamily="2" charset="2"/>
                <a:buChar char="ü"/>
              </a:pPr>
              <a:r>
                <a:rPr lang="en-US" sz="2000" dirty="0">
                  <a:solidFill>
                    <a:schemeClr val="bg1">
                      <a:lumMod val="50000"/>
                    </a:schemeClr>
                  </a:solidFill>
                  <a:latin typeface="+mj-lt"/>
                </a:rPr>
                <a:t>.NET</a:t>
              </a:r>
            </a:p>
          </p:txBody>
        </p:sp>
        <p:sp>
          <p:nvSpPr>
            <p:cNvPr id="21" name="Rectangle 20"/>
            <p:cNvSpPr/>
            <p:nvPr/>
          </p:nvSpPr>
          <p:spPr>
            <a:xfrm>
              <a:off x="3422334" y="5320297"/>
              <a:ext cx="2161607" cy="707886"/>
            </a:xfrm>
            <a:prstGeom prst="rect">
              <a:avLst/>
            </a:prstGeom>
          </p:spPr>
          <p:txBody>
            <a:bodyPr wrap="square">
              <a:spAutoFit/>
            </a:bodyPr>
            <a:lstStyle/>
            <a:p>
              <a:pPr marL="285750" indent="-285750">
                <a:buFont typeface="Wingdings" panose="05000000000000000000" pitchFamily="2" charset="2"/>
                <a:buChar char="ü"/>
              </a:pPr>
              <a:r>
                <a:rPr lang="en-US" sz="2000" dirty="0">
                  <a:solidFill>
                    <a:schemeClr val="bg1">
                      <a:lumMod val="50000"/>
                    </a:schemeClr>
                  </a:solidFill>
                  <a:latin typeface="+mj-lt"/>
                </a:rPr>
                <a:t>PHP</a:t>
              </a:r>
            </a:p>
            <a:p>
              <a:pPr marL="285750" indent="-285750">
                <a:buFont typeface="Wingdings" panose="05000000000000000000" pitchFamily="2" charset="2"/>
                <a:buChar char="ü"/>
              </a:pPr>
              <a:r>
                <a:rPr lang="en-US" sz="2000" dirty="0">
                  <a:solidFill>
                    <a:schemeClr val="bg1">
                      <a:lumMod val="50000"/>
                    </a:schemeClr>
                  </a:solidFill>
                  <a:latin typeface="+mj-lt"/>
                </a:rPr>
                <a:t>Hibernate </a:t>
              </a:r>
            </a:p>
          </p:txBody>
        </p:sp>
        <p:sp>
          <p:nvSpPr>
            <p:cNvPr id="22" name="Rectangle 21"/>
            <p:cNvSpPr/>
            <p:nvPr/>
          </p:nvSpPr>
          <p:spPr>
            <a:xfrm>
              <a:off x="929614" y="4950965"/>
              <a:ext cx="2081019" cy="369332"/>
            </a:xfrm>
            <a:prstGeom prst="rect">
              <a:avLst/>
            </a:prstGeom>
          </p:spPr>
          <p:txBody>
            <a:bodyPr wrap="none">
              <a:spAutoFit/>
            </a:bodyPr>
            <a:lstStyle/>
            <a:p>
              <a:pPr>
                <a:lnSpc>
                  <a:spcPct val="90000"/>
                </a:lnSpc>
                <a:spcAft>
                  <a:spcPts val="600"/>
                </a:spcAft>
              </a:pPr>
              <a:r>
                <a:rPr lang="en-US" sz="2000" dirty="0">
                  <a:gradFill>
                    <a:gsLst>
                      <a:gs pos="2917">
                        <a:schemeClr val="tx1"/>
                      </a:gs>
                      <a:gs pos="30000">
                        <a:schemeClr val="tx1"/>
                      </a:gs>
                    </a:gsLst>
                    <a:lin ang="5400000" scaled="0"/>
                  </a:gradFill>
                  <a:latin typeface="+mj-lt"/>
                </a:rPr>
                <a:t>Examples include:</a:t>
              </a:r>
            </a:p>
          </p:txBody>
        </p:sp>
      </p:grpSp>
    </p:spTree>
    <p:extLst>
      <p:ext uri="{BB962C8B-B14F-4D97-AF65-F5344CB8AC3E}">
        <p14:creationId xmlns:p14="http://schemas.microsoft.com/office/powerpoint/2010/main" val="109055867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95994" y="3018064"/>
            <a:ext cx="9949543" cy="1209562"/>
          </a:xfrm>
          <a:prstGeom prst="rect">
            <a:avLst/>
          </a:prstGeom>
          <a:noFill/>
        </p:spPr>
        <p:txBody>
          <a:bodyPr wrap="square" lIns="182880" tIns="146304" rIns="182880" bIns="146304" rtlCol="0">
            <a:spAutoFit/>
          </a:bodyPr>
          <a:lstStyle/>
          <a:p>
            <a:pPr>
              <a:lnSpc>
                <a:spcPct val="90000"/>
              </a:lnSpc>
              <a:spcAft>
                <a:spcPts val="600"/>
              </a:spcAft>
            </a:pPr>
            <a:r>
              <a:rPr lang="en-US" sz="6600" dirty="0">
                <a:gradFill>
                  <a:gsLst>
                    <a:gs pos="2917">
                      <a:schemeClr val="tx1"/>
                    </a:gs>
                    <a:gs pos="30000">
                      <a:schemeClr val="tx1"/>
                    </a:gs>
                  </a:gsLst>
                  <a:lin ang="5400000" scaled="0"/>
                </a:gradFill>
                <a:latin typeface="+mj-lt"/>
              </a:rPr>
              <a:t>Cracking a Password</a:t>
            </a:r>
          </a:p>
        </p:txBody>
      </p:sp>
    </p:spTree>
    <p:extLst>
      <p:ext uri="{BB962C8B-B14F-4D97-AF65-F5344CB8AC3E}">
        <p14:creationId xmlns:p14="http://schemas.microsoft.com/office/powerpoint/2010/main" val="67768291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Oval 29"/>
          <p:cNvSpPr/>
          <p:nvPr/>
        </p:nvSpPr>
        <p:spPr bwMode="auto">
          <a:xfrm>
            <a:off x="937245" y="4267740"/>
            <a:ext cx="3045181" cy="1768952"/>
          </a:xfrm>
          <a:prstGeom prst="ellipse">
            <a:avLst/>
          </a:prstGeom>
          <a:solidFill>
            <a:schemeClr val="bg1">
              <a:lumMod val="95000"/>
            </a:schemeClr>
          </a:solid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sz="4800" dirty="0"/>
              <a:t>Can passwords be cracked?</a:t>
            </a:r>
          </a:p>
        </p:txBody>
      </p:sp>
      <p:sp>
        <p:nvSpPr>
          <p:cNvPr id="5" name="TextBox 4"/>
          <p:cNvSpPr txBox="1"/>
          <p:nvPr/>
        </p:nvSpPr>
        <p:spPr>
          <a:xfrm>
            <a:off x="269240" y="929859"/>
            <a:ext cx="11333480"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Before understanding how a password can be broken, you must understand its components.</a:t>
            </a:r>
          </a:p>
        </p:txBody>
      </p:sp>
      <p:grpSp>
        <p:nvGrpSpPr>
          <p:cNvPr id="15" name="Group 14"/>
          <p:cNvGrpSpPr/>
          <p:nvPr/>
        </p:nvGrpSpPr>
        <p:grpSpPr>
          <a:xfrm>
            <a:off x="431800" y="1940830"/>
            <a:ext cx="11170920" cy="2092960"/>
            <a:chOff x="431800" y="2245630"/>
            <a:chExt cx="11170920" cy="2092960"/>
          </a:xfrm>
        </p:grpSpPr>
        <p:sp>
          <p:nvSpPr>
            <p:cNvPr id="14" name="Rectangle 13"/>
            <p:cNvSpPr/>
            <p:nvPr/>
          </p:nvSpPr>
          <p:spPr bwMode="auto">
            <a:xfrm>
              <a:off x="3662680" y="2245630"/>
              <a:ext cx="7940040" cy="20929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431800" y="2245630"/>
              <a:ext cx="3474720" cy="2092960"/>
              <a:chOff x="426720" y="2255520"/>
              <a:chExt cx="3474720" cy="2092960"/>
            </a:xfrm>
          </p:grpSpPr>
          <p:sp>
            <p:nvSpPr>
              <p:cNvPr id="7" name="Rectangle 6"/>
              <p:cNvSpPr/>
              <p:nvPr/>
            </p:nvSpPr>
            <p:spPr bwMode="auto">
              <a:xfrm>
                <a:off x="426720" y="2255520"/>
                <a:ext cx="3230880" cy="209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426720" y="2489470"/>
                <a:ext cx="3474720" cy="1625060"/>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Passwords are not plain text anymore, instead a </a:t>
                </a:r>
                <a:r>
                  <a:rPr lang="en-US" sz="2400" b="1" dirty="0">
                    <a:solidFill>
                      <a:schemeClr val="bg1"/>
                    </a:solidFill>
                  </a:rPr>
                  <a:t>‘hash’</a:t>
                </a:r>
                <a:r>
                  <a:rPr lang="en-US" sz="2400" dirty="0">
                    <a:solidFill>
                      <a:schemeClr val="bg1"/>
                    </a:solidFill>
                  </a:rPr>
                  <a:t> is used.</a:t>
                </a:r>
              </a:p>
            </p:txBody>
          </p:sp>
        </p:grpSp>
        <p:sp>
          <p:nvSpPr>
            <p:cNvPr id="8" name="TextBox 7"/>
            <p:cNvSpPr txBox="1"/>
            <p:nvPr/>
          </p:nvSpPr>
          <p:spPr>
            <a:xfrm>
              <a:off x="3949700" y="2456470"/>
              <a:ext cx="440944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tx2"/>
                  </a:solidFill>
                </a:rPr>
                <a:t>What’s a hash?</a:t>
              </a:r>
            </a:p>
          </p:txBody>
        </p:sp>
        <p:sp>
          <p:nvSpPr>
            <p:cNvPr id="12" name="TextBox 11"/>
            <p:cNvSpPr txBox="1"/>
            <p:nvPr/>
          </p:nvSpPr>
          <p:spPr>
            <a:xfrm>
              <a:off x="3949700" y="2811978"/>
              <a:ext cx="7472680" cy="1292662"/>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Hashing is a method to convert passwords into a fixed length string of characters using an algorithm.  The resulting string is referred to as a “fingerprint”.</a:t>
              </a:r>
            </a:p>
          </p:txBody>
        </p:sp>
      </p:grpSp>
      <p:grpSp>
        <p:nvGrpSpPr>
          <p:cNvPr id="18" name="Group 54"/>
          <p:cNvGrpSpPr>
            <a:grpSpLocks noChangeAspect="1"/>
          </p:cNvGrpSpPr>
          <p:nvPr/>
        </p:nvGrpSpPr>
        <p:grpSpPr bwMode="auto">
          <a:xfrm>
            <a:off x="5229222" y="4944214"/>
            <a:ext cx="1413515" cy="1735148"/>
            <a:chOff x="3001" y="1084"/>
            <a:chExt cx="2056" cy="2530"/>
          </a:xfrm>
          <a:solidFill>
            <a:schemeClr val="tx1">
              <a:lumMod val="60000"/>
              <a:lumOff val="40000"/>
            </a:schemeClr>
          </a:solidFill>
        </p:grpSpPr>
        <p:sp>
          <p:nvSpPr>
            <p:cNvPr id="22" name="Freeform 55"/>
            <p:cNvSpPr>
              <a:spLocks/>
            </p:cNvSpPr>
            <p:nvPr/>
          </p:nvSpPr>
          <p:spPr bwMode="auto">
            <a:xfrm>
              <a:off x="3339" y="1084"/>
              <a:ext cx="1450" cy="876"/>
            </a:xfrm>
            <a:custGeom>
              <a:avLst/>
              <a:gdLst>
                <a:gd name="T0" fmla="*/ 1332 w 1450"/>
                <a:gd name="T1" fmla="*/ 750 h 876"/>
                <a:gd name="T2" fmla="*/ 1320 w 1450"/>
                <a:gd name="T3" fmla="*/ 850 h 876"/>
                <a:gd name="T4" fmla="*/ 1450 w 1450"/>
                <a:gd name="T5" fmla="*/ 824 h 876"/>
                <a:gd name="T6" fmla="*/ 1434 w 1450"/>
                <a:gd name="T7" fmla="*/ 688 h 876"/>
                <a:gd name="T8" fmla="*/ 1404 w 1450"/>
                <a:gd name="T9" fmla="*/ 548 h 876"/>
                <a:gd name="T10" fmla="*/ 1384 w 1450"/>
                <a:gd name="T11" fmla="*/ 478 h 876"/>
                <a:gd name="T12" fmla="*/ 1358 w 1450"/>
                <a:gd name="T13" fmla="*/ 410 h 876"/>
                <a:gd name="T14" fmla="*/ 1326 w 1450"/>
                <a:gd name="T15" fmla="*/ 344 h 876"/>
                <a:gd name="T16" fmla="*/ 1290 w 1450"/>
                <a:gd name="T17" fmla="*/ 282 h 876"/>
                <a:gd name="T18" fmla="*/ 1246 w 1450"/>
                <a:gd name="T19" fmla="*/ 222 h 876"/>
                <a:gd name="T20" fmla="*/ 1196 w 1450"/>
                <a:gd name="T21" fmla="*/ 168 h 876"/>
                <a:gd name="T22" fmla="*/ 1140 w 1450"/>
                <a:gd name="T23" fmla="*/ 120 h 876"/>
                <a:gd name="T24" fmla="*/ 1074 w 1450"/>
                <a:gd name="T25" fmla="*/ 80 h 876"/>
                <a:gd name="T26" fmla="*/ 1002 w 1450"/>
                <a:gd name="T27" fmla="*/ 46 h 876"/>
                <a:gd name="T28" fmla="*/ 920 w 1450"/>
                <a:gd name="T29" fmla="*/ 22 h 876"/>
                <a:gd name="T30" fmla="*/ 830 w 1450"/>
                <a:gd name="T31" fmla="*/ 6 h 876"/>
                <a:gd name="T32" fmla="*/ 732 w 1450"/>
                <a:gd name="T33" fmla="*/ 0 h 876"/>
                <a:gd name="T34" fmla="*/ 670 w 1450"/>
                <a:gd name="T35" fmla="*/ 2 h 876"/>
                <a:gd name="T36" fmla="*/ 584 w 1450"/>
                <a:gd name="T37" fmla="*/ 12 h 876"/>
                <a:gd name="T38" fmla="*/ 536 w 1450"/>
                <a:gd name="T39" fmla="*/ 22 h 876"/>
                <a:gd name="T40" fmla="*/ 520 w 1450"/>
                <a:gd name="T41" fmla="*/ 28 h 876"/>
                <a:gd name="T42" fmla="*/ 494 w 1450"/>
                <a:gd name="T43" fmla="*/ 44 h 876"/>
                <a:gd name="T44" fmla="*/ 478 w 1450"/>
                <a:gd name="T45" fmla="*/ 66 h 876"/>
                <a:gd name="T46" fmla="*/ 456 w 1450"/>
                <a:gd name="T47" fmla="*/ 90 h 876"/>
                <a:gd name="T48" fmla="*/ 446 w 1450"/>
                <a:gd name="T49" fmla="*/ 96 h 876"/>
                <a:gd name="T50" fmla="*/ 400 w 1450"/>
                <a:gd name="T51" fmla="*/ 104 h 876"/>
                <a:gd name="T52" fmla="*/ 366 w 1450"/>
                <a:gd name="T53" fmla="*/ 108 h 876"/>
                <a:gd name="T54" fmla="*/ 358 w 1450"/>
                <a:gd name="T55" fmla="*/ 112 h 876"/>
                <a:gd name="T56" fmla="*/ 292 w 1450"/>
                <a:gd name="T57" fmla="*/ 148 h 876"/>
                <a:gd name="T58" fmla="*/ 236 w 1450"/>
                <a:gd name="T59" fmla="*/ 190 h 876"/>
                <a:gd name="T60" fmla="*/ 186 w 1450"/>
                <a:gd name="T61" fmla="*/ 236 h 876"/>
                <a:gd name="T62" fmla="*/ 144 w 1450"/>
                <a:gd name="T63" fmla="*/ 284 h 876"/>
                <a:gd name="T64" fmla="*/ 110 w 1450"/>
                <a:gd name="T65" fmla="*/ 334 h 876"/>
                <a:gd name="T66" fmla="*/ 80 w 1450"/>
                <a:gd name="T67" fmla="*/ 386 h 876"/>
                <a:gd name="T68" fmla="*/ 40 w 1450"/>
                <a:gd name="T69" fmla="*/ 486 h 876"/>
                <a:gd name="T70" fmla="*/ 14 w 1450"/>
                <a:gd name="T71" fmla="*/ 580 h 876"/>
                <a:gd name="T72" fmla="*/ 4 w 1450"/>
                <a:gd name="T73" fmla="*/ 656 h 876"/>
                <a:gd name="T74" fmla="*/ 0 w 1450"/>
                <a:gd name="T75" fmla="*/ 726 h 876"/>
                <a:gd name="T76" fmla="*/ 174 w 1450"/>
                <a:gd name="T77" fmla="*/ 876 h 876"/>
                <a:gd name="T78" fmla="*/ 166 w 1450"/>
                <a:gd name="T79" fmla="*/ 844 h 876"/>
                <a:gd name="T80" fmla="*/ 154 w 1450"/>
                <a:gd name="T81" fmla="*/ 778 h 876"/>
                <a:gd name="T82" fmla="*/ 148 w 1450"/>
                <a:gd name="T83" fmla="*/ 676 h 876"/>
                <a:gd name="T84" fmla="*/ 152 w 1450"/>
                <a:gd name="T85" fmla="*/ 640 h 876"/>
                <a:gd name="T86" fmla="*/ 184 w 1450"/>
                <a:gd name="T87" fmla="*/ 638 h 876"/>
                <a:gd name="T88" fmla="*/ 246 w 1450"/>
                <a:gd name="T89" fmla="*/ 622 h 876"/>
                <a:gd name="T90" fmla="*/ 308 w 1450"/>
                <a:gd name="T91" fmla="*/ 598 h 876"/>
                <a:gd name="T92" fmla="*/ 366 w 1450"/>
                <a:gd name="T93" fmla="*/ 564 h 876"/>
                <a:gd name="T94" fmla="*/ 416 w 1450"/>
                <a:gd name="T95" fmla="*/ 522 h 876"/>
                <a:gd name="T96" fmla="*/ 460 w 1450"/>
                <a:gd name="T97" fmla="*/ 472 h 876"/>
                <a:gd name="T98" fmla="*/ 494 w 1450"/>
                <a:gd name="T99" fmla="*/ 414 h 876"/>
                <a:gd name="T100" fmla="*/ 514 w 1450"/>
                <a:gd name="T101" fmla="*/ 352 h 876"/>
                <a:gd name="T102" fmla="*/ 518 w 1450"/>
                <a:gd name="T103" fmla="*/ 318 h 876"/>
                <a:gd name="T104" fmla="*/ 600 w 1450"/>
                <a:gd name="T105" fmla="*/ 376 h 876"/>
                <a:gd name="T106" fmla="*/ 690 w 1450"/>
                <a:gd name="T107" fmla="*/ 420 h 876"/>
                <a:gd name="T108" fmla="*/ 784 w 1450"/>
                <a:gd name="T109" fmla="*/ 454 h 876"/>
                <a:gd name="T110" fmla="*/ 880 w 1450"/>
                <a:gd name="T111" fmla="*/ 476 h 876"/>
                <a:gd name="T112" fmla="*/ 980 w 1450"/>
                <a:gd name="T113" fmla="*/ 494 h 876"/>
                <a:gd name="T114" fmla="*/ 1176 w 1450"/>
                <a:gd name="T115" fmla="*/ 514 h 876"/>
                <a:gd name="T116" fmla="*/ 1270 w 1450"/>
                <a:gd name="T117" fmla="*/ 522 h 876"/>
                <a:gd name="T118" fmla="*/ 1292 w 1450"/>
                <a:gd name="T119" fmla="*/ 542 h 876"/>
                <a:gd name="T120" fmla="*/ 1310 w 1450"/>
                <a:gd name="T121" fmla="*/ 576 h 876"/>
                <a:gd name="T122" fmla="*/ 1322 w 1450"/>
                <a:gd name="T123" fmla="*/ 624 h 876"/>
                <a:gd name="T124" fmla="*/ 1330 w 1450"/>
                <a:gd name="T125" fmla="*/ 680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0" h="876">
                  <a:moveTo>
                    <a:pt x="1332" y="750"/>
                  </a:moveTo>
                  <a:lnTo>
                    <a:pt x="1332" y="750"/>
                  </a:lnTo>
                  <a:lnTo>
                    <a:pt x="1328" y="798"/>
                  </a:lnTo>
                  <a:lnTo>
                    <a:pt x="1320" y="850"/>
                  </a:lnTo>
                  <a:lnTo>
                    <a:pt x="1450" y="824"/>
                  </a:lnTo>
                  <a:lnTo>
                    <a:pt x="1450" y="824"/>
                  </a:lnTo>
                  <a:lnTo>
                    <a:pt x="1444" y="758"/>
                  </a:lnTo>
                  <a:lnTo>
                    <a:pt x="1434" y="688"/>
                  </a:lnTo>
                  <a:lnTo>
                    <a:pt x="1422" y="618"/>
                  </a:lnTo>
                  <a:lnTo>
                    <a:pt x="1404" y="548"/>
                  </a:lnTo>
                  <a:lnTo>
                    <a:pt x="1394" y="514"/>
                  </a:lnTo>
                  <a:lnTo>
                    <a:pt x="1384" y="478"/>
                  </a:lnTo>
                  <a:lnTo>
                    <a:pt x="1370" y="444"/>
                  </a:lnTo>
                  <a:lnTo>
                    <a:pt x="1358" y="410"/>
                  </a:lnTo>
                  <a:lnTo>
                    <a:pt x="1342" y="376"/>
                  </a:lnTo>
                  <a:lnTo>
                    <a:pt x="1326" y="344"/>
                  </a:lnTo>
                  <a:lnTo>
                    <a:pt x="1308" y="312"/>
                  </a:lnTo>
                  <a:lnTo>
                    <a:pt x="1290" y="282"/>
                  </a:lnTo>
                  <a:lnTo>
                    <a:pt x="1268" y="252"/>
                  </a:lnTo>
                  <a:lnTo>
                    <a:pt x="1246" y="222"/>
                  </a:lnTo>
                  <a:lnTo>
                    <a:pt x="1222" y="194"/>
                  </a:lnTo>
                  <a:lnTo>
                    <a:pt x="1196" y="168"/>
                  </a:lnTo>
                  <a:lnTo>
                    <a:pt x="1168" y="144"/>
                  </a:lnTo>
                  <a:lnTo>
                    <a:pt x="1140" y="120"/>
                  </a:lnTo>
                  <a:lnTo>
                    <a:pt x="1108" y="100"/>
                  </a:lnTo>
                  <a:lnTo>
                    <a:pt x="1074" y="80"/>
                  </a:lnTo>
                  <a:lnTo>
                    <a:pt x="1040" y="62"/>
                  </a:lnTo>
                  <a:lnTo>
                    <a:pt x="1002" y="46"/>
                  </a:lnTo>
                  <a:lnTo>
                    <a:pt x="962" y="32"/>
                  </a:lnTo>
                  <a:lnTo>
                    <a:pt x="920" y="22"/>
                  </a:lnTo>
                  <a:lnTo>
                    <a:pt x="876" y="12"/>
                  </a:lnTo>
                  <a:lnTo>
                    <a:pt x="830" y="6"/>
                  </a:lnTo>
                  <a:lnTo>
                    <a:pt x="782" y="2"/>
                  </a:lnTo>
                  <a:lnTo>
                    <a:pt x="732" y="0"/>
                  </a:lnTo>
                  <a:lnTo>
                    <a:pt x="732" y="0"/>
                  </a:lnTo>
                  <a:lnTo>
                    <a:pt x="670" y="2"/>
                  </a:lnTo>
                  <a:lnTo>
                    <a:pt x="610" y="8"/>
                  </a:lnTo>
                  <a:lnTo>
                    <a:pt x="584" y="12"/>
                  </a:lnTo>
                  <a:lnTo>
                    <a:pt x="558" y="16"/>
                  </a:lnTo>
                  <a:lnTo>
                    <a:pt x="536" y="22"/>
                  </a:lnTo>
                  <a:lnTo>
                    <a:pt x="520" y="28"/>
                  </a:lnTo>
                  <a:lnTo>
                    <a:pt x="520" y="28"/>
                  </a:lnTo>
                  <a:lnTo>
                    <a:pt x="506" y="36"/>
                  </a:lnTo>
                  <a:lnTo>
                    <a:pt x="494" y="44"/>
                  </a:lnTo>
                  <a:lnTo>
                    <a:pt x="486" y="54"/>
                  </a:lnTo>
                  <a:lnTo>
                    <a:pt x="478" y="66"/>
                  </a:lnTo>
                  <a:lnTo>
                    <a:pt x="464" y="84"/>
                  </a:lnTo>
                  <a:lnTo>
                    <a:pt x="456" y="90"/>
                  </a:lnTo>
                  <a:lnTo>
                    <a:pt x="446" y="96"/>
                  </a:lnTo>
                  <a:lnTo>
                    <a:pt x="446" y="96"/>
                  </a:lnTo>
                  <a:lnTo>
                    <a:pt x="424" y="100"/>
                  </a:lnTo>
                  <a:lnTo>
                    <a:pt x="400" y="104"/>
                  </a:lnTo>
                  <a:lnTo>
                    <a:pt x="378" y="106"/>
                  </a:lnTo>
                  <a:lnTo>
                    <a:pt x="366" y="108"/>
                  </a:lnTo>
                  <a:lnTo>
                    <a:pt x="358" y="112"/>
                  </a:lnTo>
                  <a:lnTo>
                    <a:pt x="358" y="112"/>
                  </a:lnTo>
                  <a:lnTo>
                    <a:pt x="324" y="130"/>
                  </a:lnTo>
                  <a:lnTo>
                    <a:pt x="292" y="148"/>
                  </a:lnTo>
                  <a:lnTo>
                    <a:pt x="262" y="170"/>
                  </a:lnTo>
                  <a:lnTo>
                    <a:pt x="236" y="190"/>
                  </a:lnTo>
                  <a:lnTo>
                    <a:pt x="210" y="212"/>
                  </a:lnTo>
                  <a:lnTo>
                    <a:pt x="186" y="236"/>
                  </a:lnTo>
                  <a:lnTo>
                    <a:pt x="164" y="260"/>
                  </a:lnTo>
                  <a:lnTo>
                    <a:pt x="144" y="284"/>
                  </a:lnTo>
                  <a:lnTo>
                    <a:pt x="126" y="308"/>
                  </a:lnTo>
                  <a:lnTo>
                    <a:pt x="110" y="334"/>
                  </a:lnTo>
                  <a:lnTo>
                    <a:pt x="94" y="360"/>
                  </a:lnTo>
                  <a:lnTo>
                    <a:pt x="80" y="386"/>
                  </a:lnTo>
                  <a:lnTo>
                    <a:pt x="58" y="436"/>
                  </a:lnTo>
                  <a:lnTo>
                    <a:pt x="40" y="486"/>
                  </a:lnTo>
                  <a:lnTo>
                    <a:pt x="26" y="534"/>
                  </a:lnTo>
                  <a:lnTo>
                    <a:pt x="14" y="580"/>
                  </a:lnTo>
                  <a:lnTo>
                    <a:pt x="8" y="620"/>
                  </a:lnTo>
                  <a:lnTo>
                    <a:pt x="4" y="656"/>
                  </a:lnTo>
                  <a:lnTo>
                    <a:pt x="0" y="708"/>
                  </a:lnTo>
                  <a:lnTo>
                    <a:pt x="0" y="726"/>
                  </a:lnTo>
                  <a:lnTo>
                    <a:pt x="6" y="846"/>
                  </a:lnTo>
                  <a:lnTo>
                    <a:pt x="174" y="876"/>
                  </a:lnTo>
                  <a:lnTo>
                    <a:pt x="174" y="876"/>
                  </a:lnTo>
                  <a:lnTo>
                    <a:pt x="166" y="844"/>
                  </a:lnTo>
                  <a:lnTo>
                    <a:pt x="160" y="812"/>
                  </a:lnTo>
                  <a:lnTo>
                    <a:pt x="154" y="778"/>
                  </a:lnTo>
                  <a:lnTo>
                    <a:pt x="150" y="746"/>
                  </a:lnTo>
                  <a:lnTo>
                    <a:pt x="148" y="676"/>
                  </a:lnTo>
                  <a:lnTo>
                    <a:pt x="148" y="676"/>
                  </a:lnTo>
                  <a:lnTo>
                    <a:pt x="152" y="640"/>
                  </a:lnTo>
                  <a:lnTo>
                    <a:pt x="152" y="640"/>
                  </a:lnTo>
                  <a:lnTo>
                    <a:pt x="184" y="638"/>
                  </a:lnTo>
                  <a:lnTo>
                    <a:pt x="214" y="632"/>
                  </a:lnTo>
                  <a:lnTo>
                    <a:pt x="246" y="622"/>
                  </a:lnTo>
                  <a:lnTo>
                    <a:pt x="278" y="612"/>
                  </a:lnTo>
                  <a:lnTo>
                    <a:pt x="308" y="598"/>
                  </a:lnTo>
                  <a:lnTo>
                    <a:pt x="336" y="582"/>
                  </a:lnTo>
                  <a:lnTo>
                    <a:pt x="366" y="564"/>
                  </a:lnTo>
                  <a:lnTo>
                    <a:pt x="392" y="544"/>
                  </a:lnTo>
                  <a:lnTo>
                    <a:pt x="416" y="522"/>
                  </a:lnTo>
                  <a:lnTo>
                    <a:pt x="440" y="498"/>
                  </a:lnTo>
                  <a:lnTo>
                    <a:pt x="460" y="472"/>
                  </a:lnTo>
                  <a:lnTo>
                    <a:pt x="478" y="444"/>
                  </a:lnTo>
                  <a:lnTo>
                    <a:pt x="494" y="414"/>
                  </a:lnTo>
                  <a:lnTo>
                    <a:pt x="506" y="384"/>
                  </a:lnTo>
                  <a:lnTo>
                    <a:pt x="514" y="352"/>
                  </a:lnTo>
                  <a:lnTo>
                    <a:pt x="518" y="318"/>
                  </a:lnTo>
                  <a:lnTo>
                    <a:pt x="518" y="318"/>
                  </a:lnTo>
                  <a:lnTo>
                    <a:pt x="558" y="350"/>
                  </a:lnTo>
                  <a:lnTo>
                    <a:pt x="600" y="376"/>
                  </a:lnTo>
                  <a:lnTo>
                    <a:pt x="644" y="400"/>
                  </a:lnTo>
                  <a:lnTo>
                    <a:pt x="690" y="420"/>
                  </a:lnTo>
                  <a:lnTo>
                    <a:pt x="736" y="438"/>
                  </a:lnTo>
                  <a:lnTo>
                    <a:pt x="784" y="454"/>
                  </a:lnTo>
                  <a:lnTo>
                    <a:pt x="832" y="466"/>
                  </a:lnTo>
                  <a:lnTo>
                    <a:pt x="880" y="476"/>
                  </a:lnTo>
                  <a:lnTo>
                    <a:pt x="930" y="486"/>
                  </a:lnTo>
                  <a:lnTo>
                    <a:pt x="980" y="494"/>
                  </a:lnTo>
                  <a:lnTo>
                    <a:pt x="1078" y="506"/>
                  </a:lnTo>
                  <a:lnTo>
                    <a:pt x="1176" y="514"/>
                  </a:lnTo>
                  <a:lnTo>
                    <a:pt x="1270" y="522"/>
                  </a:lnTo>
                  <a:lnTo>
                    <a:pt x="1270" y="522"/>
                  </a:lnTo>
                  <a:lnTo>
                    <a:pt x="1282" y="530"/>
                  </a:lnTo>
                  <a:lnTo>
                    <a:pt x="1292" y="542"/>
                  </a:lnTo>
                  <a:lnTo>
                    <a:pt x="1302" y="558"/>
                  </a:lnTo>
                  <a:lnTo>
                    <a:pt x="1310" y="576"/>
                  </a:lnTo>
                  <a:lnTo>
                    <a:pt x="1316" y="598"/>
                  </a:lnTo>
                  <a:lnTo>
                    <a:pt x="1322" y="624"/>
                  </a:lnTo>
                  <a:lnTo>
                    <a:pt x="1326" y="652"/>
                  </a:lnTo>
                  <a:lnTo>
                    <a:pt x="1330" y="680"/>
                  </a:lnTo>
                  <a:lnTo>
                    <a:pt x="1332" y="7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3" name="Freeform 56"/>
            <p:cNvSpPr>
              <a:spLocks noEditPoints="1"/>
            </p:cNvSpPr>
            <p:nvPr/>
          </p:nvSpPr>
          <p:spPr bwMode="auto">
            <a:xfrm>
              <a:off x="3001" y="1946"/>
              <a:ext cx="2056" cy="1668"/>
            </a:xfrm>
            <a:custGeom>
              <a:avLst/>
              <a:gdLst>
                <a:gd name="T0" fmla="*/ 2054 w 2056"/>
                <a:gd name="T1" fmla="*/ 782 h 1668"/>
                <a:gd name="T2" fmla="*/ 2032 w 2056"/>
                <a:gd name="T3" fmla="*/ 696 h 1668"/>
                <a:gd name="T4" fmla="*/ 1988 w 2056"/>
                <a:gd name="T5" fmla="*/ 628 h 1668"/>
                <a:gd name="T6" fmla="*/ 1040 w 2056"/>
                <a:gd name="T7" fmla="*/ 148 h 1668"/>
                <a:gd name="T8" fmla="*/ 108 w 2056"/>
                <a:gd name="T9" fmla="*/ 594 h 1668"/>
                <a:gd name="T10" fmla="*/ 46 w 2056"/>
                <a:gd name="T11" fmla="*/ 654 h 1668"/>
                <a:gd name="T12" fmla="*/ 8 w 2056"/>
                <a:gd name="T13" fmla="*/ 744 h 1668"/>
                <a:gd name="T14" fmla="*/ 0 w 2056"/>
                <a:gd name="T15" fmla="*/ 814 h 1668"/>
                <a:gd name="T16" fmla="*/ 18 w 2056"/>
                <a:gd name="T17" fmla="*/ 916 h 1668"/>
                <a:gd name="T18" fmla="*/ 64 w 2056"/>
                <a:gd name="T19" fmla="*/ 996 h 1668"/>
                <a:gd name="T20" fmla="*/ 108 w 2056"/>
                <a:gd name="T21" fmla="*/ 1520 h 1668"/>
                <a:gd name="T22" fmla="*/ 1970 w 2056"/>
                <a:gd name="T23" fmla="*/ 1016 h 1668"/>
                <a:gd name="T24" fmla="*/ 2006 w 2056"/>
                <a:gd name="T25" fmla="*/ 978 h 1668"/>
                <a:gd name="T26" fmla="*/ 2042 w 2056"/>
                <a:gd name="T27" fmla="*/ 904 h 1668"/>
                <a:gd name="T28" fmla="*/ 2056 w 2056"/>
                <a:gd name="T29" fmla="*/ 814 h 1668"/>
                <a:gd name="T30" fmla="*/ 192 w 2056"/>
                <a:gd name="T31" fmla="*/ 1448 h 1668"/>
                <a:gd name="T32" fmla="*/ 210 w 2056"/>
                <a:gd name="T33" fmla="*/ 1050 h 1668"/>
                <a:gd name="T34" fmla="*/ 260 w 2056"/>
                <a:gd name="T35" fmla="*/ 1030 h 1668"/>
                <a:gd name="T36" fmla="*/ 304 w 2056"/>
                <a:gd name="T37" fmla="*/ 994 h 1668"/>
                <a:gd name="T38" fmla="*/ 338 w 2056"/>
                <a:gd name="T39" fmla="*/ 944 h 1668"/>
                <a:gd name="T40" fmla="*/ 358 w 2056"/>
                <a:gd name="T41" fmla="*/ 882 h 1668"/>
                <a:gd name="T42" fmla="*/ 366 w 2056"/>
                <a:gd name="T43" fmla="*/ 814 h 1668"/>
                <a:gd name="T44" fmla="*/ 364 w 2056"/>
                <a:gd name="T45" fmla="*/ 766 h 1668"/>
                <a:gd name="T46" fmla="*/ 346 w 2056"/>
                <a:gd name="T47" fmla="*/ 702 h 1668"/>
                <a:gd name="T48" fmla="*/ 316 w 2056"/>
                <a:gd name="T49" fmla="*/ 648 h 1668"/>
                <a:gd name="T50" fmla="*/ 276 w 2056"/>
                <a:gd name="T51" fmla="*/ 606 h 1668"/>
                <a:gd name="T52" fmla="*/ 228 w 2056"/>
                <a:gd name="T53" fmla="*/ 582 h 1668"/>
                <a:gd name="T54" fmla="*/ 192 w 2056"/>
                <a:gd name="T55" fmla="*/ 100 h 1668"/>
                <a:gd name="T56" fmla="*/ 1886 w 2056"/>
                <a:gd name="T57" fmla="*/ 1448 h 1668"/>
                <a:gd name="T58" fmla="*/ 1886 w 2056"/>
                <a:gd name="T59" fmla="*/ 100 h 1668"/>
                <a:gd name="T60" fmla="*/ 1886 w 2056"/>
                <a:gd name="T61" fmla="*/ 574 h 1668"/>
                <a:gd name="T62" fmla="*/ 1854 w 2056"/>
                <a:gd name="T63" fmla="*/ 574 h 1668"/>
                <a:gd name="T64" fmla="*/ 1800 w 2056"/>
                <a:gd name="T65" fmla="*/ 592 h 1668"/>
                <a:gd name="T66" fmla="*/ 1756 w 2056"/>
                <a:gd name="T67" fmla="*/ 628 h 1668"/>
                <a:gd name="T68" fmla="*/ 1720 w 2056"/>
                <a:gd name="T69" fmla="*/ 680 h 1668"/>
                <a:gd name="T70" fmla="*/ 1696 w 2056"/>
                <a:gd name="T71" fmla="*/ 742 h 1668"/>
                <a:gd name="T72" fmla="*/ 1688 w 2056"/>
                <a:gd name="T73" fmla="*/ 814 h 1668"/>
                <a:gd name="T74" fmla="*/ 1692 w 2056"/>
                <a:gd name="T75" fmla="*/ 862 h 1668"/>
                <a:gd name="T76" fmla="*/ 1710 w 2056"/>
                <a:gd name="T77" fmla="*/ 928 h 1668"/>
                <a:gd name="T78" fmla="*/ 1742 w 2056"/>
                <a:gd name="T79" fmla="*/ 984 h 1668"/>
                <a:gd name="T80" fmla="*/ 1784 w 2056"/>
                <a:gd name="T81" fmla="*/ 1024 h 1668"/>
                <a:gd name="T82" fmla="*/ 1836 w 2056"/>
                <a:gd name="T83" fmla="*/ 1048 h 1668"/>
                <a:gd name="T84" fmla="*/ 1872 w 2056"/>
                <a:gd name="T85" fmla="*/ 1054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56" h="1668">
                  <a:moveTo>
                    <a:pt x="2056" y="814"/>
                  </a:moveTo>
                  <a:lnTo>
                    <a:pt x="2056" y="814"/>
                  </a:lnTo>
                  <a:lnTo>
                    <a:pt x="2054" y="782"/>
                  </a:lnTo>
                  <a:lnTo>
                    <a:pt x="2050" y="752"/>
                  </a:lnTo>
                  <a:lnTo>
                    <a:pt x="2042" y="724"/>
                  </a:lnTo>
                  <a:lnTo>
                    <a:pt x="2032" y="696"/>
                  </a:lnTo>
                  <a:lnTo>
                    <a:pt x="2020" y="672"/>
                  </a:lnTo>
                  <a:lnTo>
                    <a:pt x="2006" y="648"/>
                  </a:lnTo>
                  <a:lnTo>
                    <a:pt x="1988" y="628"/>
                  </a:lnTo>
                  <a:lnTo>
                    <a:pt x="1970" y="610"/>
                  </a:lnTo>
                  <a:lnTo>
                    <a:pt x="1970" y="0"/>
                  </a:lnTo>
                  <a:lnTo>
                    <a:pt x="1040" y="148"/>
                  </a:lnTo>
                  <a:lnTo>
                    <a:pt x="108" y="0"/>
                  </a:lnTo>
                  <a:lnTo>
                    <a:pt x="108" y="594"/>
                  </a:lnTo>
                  <a:lnTo>
                    <a:pt x="108" y="594"/>
                  </a:lnTo>
                  <a:lnTo>
                    <a:pt x="84" y="610"/>
                  </a:lnTo>
                  <a:lnTo>
                    <a:pt x="64" y="632"/>
                  </a:lnTo>
                  <a:lnTo>
                    <a:pt x="46" y="654"/>
                  </a:lnTo>
                  <a:lnTo>
                    <a:pt x="30" y="682"/>
                  </a:lnTo>
                  <a:lnTo>
                    <a:pt x="18" y="712"/>
                  </a:lnTo>
                  <a:lnTo>
                    <a:pt x="8" y="744"/>
                  </a:lnTo>
                  <a:lnTo>
                    <a:pt x="2" y="778"/>
                  </a:lnTo>
                  <a:lnTo>
                    <a:pt x="0" y="814"/>
                  </a:lnTo>
                  <a:lnTo>
                    <a:pt x="0" y="814"/>
                  </a:lnTo>
                  <a:lnTo>
                    <a:pt x="2" y="850"/>
                  </a:lnTo>
                  <a:lnTo>
                    <a:pt x="8" y="884"/>
                  </a:lnTo>
                  <a:lnTo>
                    <a:pt x="18" y="916"/>
                  </a:lnTo>
                  <a:lnTo>
                    <a:pt x="30" y="946"/>
                  </a:lnTo>
                  <a:lnTo>
                    <a:pt x="46" y="972"/>
                  </a:lnTo>
                  <a:lnTo>
                    <a:pt x="64" y="996"/>
                  </a:lnTo>
                  <a:lnTo>
                    <a:pt x="84" y="1016"/>
                  </a:lnTo>
                  <a:lnTo>
                    <a:pt x="108" y="1032"/>
                  </a:lnTo>
                  <a:lnTo>
                    <a:pt x="108" y="1520"/>
                  </a:lnTo>
                  <a:lnTo>
                    <a:pt x="1040" y="1668"/>
                  </a:lnTo>
                  <a:lnTo>
                    <a:pt x="1970" y="1520"/>
                  </a:lnTo>
                  <a:lnTo>
                    <a:pt x="1970" y="1016"/>
                  </a:lnTo>
                  <a:lnTo>
                    <a:pt x="1970" y="1016"/>
                  </a:lnTo>
                  <a:lnTo>
                    <a:pt x="1988" y="998"/>
                  </a:lnTo>
                  <a:lnTo>
                    <a:pt x="2006" y="978"/>
                  </a:lnTo>
                  <a:lnTo>
                    <a:pt x="2020" y="956"/>
                  </a:lnTo>
                  <a:lnTo>
                    <a:pt x="2032" y="930"/>
                  </a:lnTo>
                  <a:lnTo>
                    <a:pt x="2042" y="904"/>
                  </a:lnTo>
                  <a:lnTo>
                    <a:pt x="2050" y="876"/>
                  </a:lnTo>
                  <a:lnTo>
                    <a:pt x="2054" y="844"/>
                  </a:lnTo>
                  <a:lnTo>
                    <a:pt x="2056" y="814"/>
                  </a:lnTo>
                  <a:lnTo>
                    <a:pt x="2056" y="814"/>
                  </a:lnTo>
                  <a:close/>
                  <a:moveTo>
                    <a:pt x="996" y="1576"/>
                  </a:moveTo>
                  <a:lnTo>
                    <a:pt x="192" y="1448"/>
                  </a:lnTo>
                  <a:lnTo>
                    <a:pt x="192" y="1052"/>
                  </a:lnTo>
                  <a:lnTo>
                    <a:pt x="192" y="1052"/>
                  </a:lnTo>
                  <a:lnTo>
                    <a:pt x="210" y="1050"/>
                  </a:lnTo>
                  <a:lnTo>
                    <a:pt x="228" y="1046"/>
                  </a:lnTo>
                  <a:lnTo>
                    <a:pt x="244" y="1040"/>
                  </a:lnTo>
                  <a:lnTo>
                    <a:pt x="260" y="1030"/>
                  </a:lnTo>
                  <a:lnTo>
                    <a:pt x="276" y="1020"/>
                  </a:lnTo>
                  <a:lnTo>
                    <a:pt x="290" y="1008"/>
                  </a:lnTo>
                  <a:lnTo>
                    <a:pt x="304" y="994"/>
                  </a:lnTo>
                  <a:lnTo>
                    <a:pt x="316" y="978"/>
                  </a:lnTo>
                  <a:lnTo>
                    <a:pt x="328" y="962"/>
                  </a:lnTo>
                  <a:lnTo>
                    <a:pt x="338" y="944"/>
                  </a:lnTo>
                  <a:lnTo>
                    <a:pt x="346" y="924"/>
                  </a:lnTo>
                  <a:lnTo>
                    <a:pt x="354" y="904"/>
                  </a:lnTo>
                  <a:lnTo>
                    <a:pt x="358" y="882"/>
                  </a:lnTo>
                  <a:lnTo>
                    <a:pt x="364" y="860"/>
                  </a:lnTo>
                  <a:lnTo>
                    <a:pt x="366" y="838"/>
                  </a:lnTo>
                  <a:lnTo>
                    <a:pt x="366" y="814"/>
                  </a:lnTo>
                  <a:lnTo>
                    <a:pt x="366" y="814"/>
                  </a:lnTo>
                  <a:lnTo>
                    <a:pt x="366" y="790"/>
                  </a:lnTo>
                  <a:lnTo>
                    <a:pt x="364" y="766"/>
                  </a:lnTo>
                  <a:lnTo>
                    <a:pt x="358" y="744"/>
                  </a:lnTo>
                  <a:lnTo>
                    <a:pt x="354" y="722"/>
                  </a:lnTo>
                  <a:lnTo>
                    <a:pt x="346" y="702"/>
                  </a:lnTo>
                  <a:lnTo>
                    <a:pt x="338" y="682"/>
                  </a:lnTo>
                  <a:lnTo>
                    <a:pt x="328" y="664"/>
                  </a:lnTo>
                  <a:lnTo>
                    <a:pt x="316" y="648"/>
                  </a:lnTo>
                  <a:lnTo>
                    <a:pt x="304" y="632"/>
                  </a:lnTo>
                  <a:lnTo>
                    <a:pt x="290" y="618"/>
                  </a:lnTo>
                  <a:lnTo>
                    <a:pt x="276" y="606"/>
                  </a:lnTo>
                  <a:lnTo>
                    <a:pt x="260" y="596"/>
                  </a:lnTo>
                  <a:lnTo>
                    <a:pt x="244" y="588"/>
                  </a:lnTo>
                  <a:lnTo>
                    <a:pt x="228" y="582"/>
                  </a:lnTo>
                  <a:lnTo>
                    <a:pt x="210" y="576"/>
                  </a:lnTo>
                  <a:lnTo>
                    <a:pt x="192" y="574"/>
                  </a:lnTo>
                  <a:lnTo>
                    <a:pt x="192" y="100"/>
                  </a:lnTo>
                  <a:lnTo>
                    <a:pt x="996" y="228"/>
                  </a:lnTo>
                  <a:lnTo>
                    <a:pt x="996" y="1576"/>
                  </a:lnTo>
                  <a:close/>
                  <a:moveTo>
                    <a:pt x="1886" y="1448"/>
                  </a:moveTo>
                  <a:lnTo>
                    <a:pt x="1082" y="1576"/>
                  </a:lnTo>
                  <a:lnTo>
                    <a:pt x="1082" y="228"/>
                  </a:lnTo>
                  <a:lnTo>
                    <a:pt x="1886" y="100"/>
                  </a:lnTo>
                  <a:lnTo>
                    <a:pt x="1886" y="270"/>
                  </a:lnTo>
                  <a:lnTo>
                    <a:pt x="1886" y="574"/>
                  </a:lnTo>
                  <a:lnTo>
                    <a:pt x="1886" y="574"/>
                  </a:lnTo>
                  <a:lnTo>
                    <a:pt x="1872" y="574"/>
                  </a:lnTo>
                  <a:lnTo>
                    <a:pt x="1872" y="574"/>
                  </a:lnTo>
                  <a:lnTo>
                    <a:pt x="1854" y="574"/>
                  </a:lnTo>
                  <a:lnTo>
                    <a:pt x="1836" y="578"/>
                  </a:lnTo>
                  <a:lnTo>
                    <a:pt x="1818" y="584"/>
                  </a:lnTo>
                  <a:lnTo>
                    <a:pt x="1800" y="592"/>
                  </a:lnTo>
                  <a:lnTo>
                    <a:pt x="1784" y="602"/>
                  </a:lnTo>
                  <a:lnTo>
                    <a:pt x="1770" y="614"/>
                  </a:lnTo>
                  <a:lnTo>
                    <a:pt x="1756" y="628"/>
                  </a:lnTo>
                  <a:lnTo>
                    <a:pt x="1742" y="644"/>
                  </a:lnTo>
                  <a:lnTo>
                    <a:pt x="1730" y="660"/>
                  </a:lnTo>
                  <a:lnTo>
                    <a:pt x="1720" y="680"/>
                  </a:lnTo>
                  <a:lnTo>
                    <a:pt x="1710" y="698"/>
                  </a:lnTo>
                  <a:lnTo>
                    <a:pt x="1704" y="720"/>
                  </a:lnTo>
                  <a:lnTo>
                    <a:pt x="1696" y="742"/>
                  </a:lnTo>
                  <a:lnTo>
                    <a:pt x="1692" y="766"/>
                  </a:lnTo>
                  <a:lnTo>
                    <a:pt x="1690" y="788"/>
                  </a:lnTo>
                  <a:lnTo>
                    <a:pt x="1688" y="814"/>
                  </a:lnTo>
                  <a:lnTo>
                    <a:pt x="1688" y="814"/>
                  </a:lnTo>
                  <a:lnTo>
                    <a:pt x="1690" y="838"/>
                  </a:lnTo>
                  <a:lnTo>
                    <a:pt x="1692" y="862"/>
                  </a:lnTo>
                  <a:lnTo>
                    <a:pt x="1696" y="884"/>
                  </a:lnTo>
                  <a:lnTo>
                    <a:pt x="1704" y="908"/>
                  </a:lnTo>
                  <a:lnTo>
                    <a:pt x="1710" y="928"/>
                  </a:lnTo>
                  <a:lnTo>
                    <a:pt x="1720" y="948"/>
                  </a:lnTo>
                  <a:lnTo>
                    <a:pt x="1730" y="966"/>
                  </a:lnTo>
                  <a:lnTo>
                    <a:pt x="1742" y="984"/>
                  </a:lnTo>
                  <a:lnTo>
                    <a:pt x="1756" y="998"/>
                  </a:lnTo>
                  <a:lnTo>
                    <a:pt x="1770" y="1012"/>
                  </a:lnTo>
                  <a:lnTo>
                    <a:pt x="1784" y="1024"/>
                  </a:lnTo>
                  <a:lnTo>
                    <a:pt x="1800" y="1034"/>
                  </a:lnTo>
                  <a:lnTo>
                    <a:pt x="1818" y="1044"/>
                  </a:lnTo>
                  <a:lnTo>
                    <a:pt x="1836" y="1048"/>
                  </a:lnTo>
                  <a:lnTo>
                    <a:pt x="1854" y="1052"/>
                  </a:lnTo>
                  <a:lnTo>
                    <a:pt x="1872" y="1054"/>
                  </a:lnTo>
                  <a:lnTo>
                    <a:pt x="1872" y="1054"/>
                  </a:lnTo>
                  <a:lnTo>
                    <a:pt x="1886" y="1052"/>
                  </a:lnTo>
                  <a:lnTo>
                    <a:pt x="1886" y="14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9" name="Group 18"/>
          <p:cNvGrpSpPr/>
          <p:nvPr/>
        </p:nvGrpSpPr>
        <p:grpSpPr>
          <a:xfrm>
            <a:off x="6031424" y="5964649"/>
            <a:ext cx="350807" cy="359838"/>
            <a:chOff x="277787" y="4495062"/>
            <a:chExt cx="433936" cy="446197"/>
          </a:xfrm>
          <a:solidFill>
            <a:schemeClr val="tx2"/>
          </a:solidFill>
        </p:grpSpPr>
        <p:sp>
          <p:nvSpPr>
            <p:cNvPr id="20" name="Freeform 44"/>
            <p:cNvSpPr>
              <a:spLocks/>
            </p:cNvSpPr>
            <p:nvPr/>
          </p:nvSpPr>
          <p:spPr bwMode="auto">
            <a:xfrm>
              <a:off x="341140" y="4495062"/>
              <a:ext cx="307229" cy="182566"/>
            </a:xfrm>
            <a:custGeom>
              <a:avLst/>
              <a:gdLst>
                <a:gd name="T0" fmla="*/ 36 w 902"/>
                <a:gd name="T1" fmla="*/ 68 h 536"/>
                <a:gd name="T2" fmla="*/ 114 w 902"/>
                <a:gd name="T3" fmla="*/ 100 h 536"/>
                <a:gd name="T4" fmla="*/ 172 w 902"/>
                <a:gd name="T5" fmla="*/ 146 h 536"/>
                <a:gd name="T6" fmla="*/ 228 w 902"/>
                <a:gd name="T7" fmla="*/ 216 h 536"/>
                <a:gd name="T8" fmla="*/ 264 w 902"/>
                <a:gd name="T9" fmla="*/ 318 h 536"/>
                <a:gd name="T10" fmla="*/ 230 w 902"/>
                <a:gd name="T11" fmla="*/ 364 h 536"/>
                <a:gd name="T12" fmla="*/ 194 w 902"/>
                <a:gd name="T13" fmla="*/ 444 h 536"/>
                <a:gd name="T14" fmla="*/ 180 w 902"/>
                <a:gd name="T15" fmla="*/ 534 h 536"/>
                <a:gd name="T16" fmla="*/ 720 w 902"/>
                <a:gd name="T17" fmla="*/ 536 h 536"/>
                <a:gd name="T18" fmla="*/ 720 w 902"/>
                <a:gd name="T19" fmla="*/ 534 h 536"/>
                <a:gd name="T20" fmla="*/ 708 w 902"/>
                <a:gd name="T21" fmla="*/ 444 h 536"/>
                <a:gd name="T22" fmla="*/ 672 w 902"/>
                <a:gd name="T23" fmla="*/ 364 h 536"/>
                <a:gd name="T24" fmla="*/ 636 w 902"/>
                <a:gd name="T25" fmla="*/ 318 h 536"/>
                <a:gd name="T26" fmla="*/ 674 w 902"/>
                <a:gd name="T27" fmla="*/ 216 h 536"/>
                <a:gd name="T28" fmla="*/ 728 w 902"/>
                <a:gd name="T29" fmla="*/ 146 h 536"/>
                <a:gd name="T30" fmla="*/ 788 w 902"/>
                <a:gd name="T31" fmla="*/ 100 h 536"/>
                <a:gd name="T32" fmla="*/ 864 w 902"/>
                <a:gd name="T33" fmla="*/ 68 h 536"/>
                <a:gd name="T34" fmla="*/ 882 w 902"/>
                <a:gd name="T35" fmla="*/ 64 h 536"/>
                <a:gd name="T36" fmla="*/ 896 w 902"/>
                <a:gd name="T37" fmla="*/ 52 h 536"/>
                <a:gd name="T38" fmla="*/ 902 w 902"/>
                <a:gd name="T39" fmla="*/ 34 h 536"/>
                <a:gd name="T40" fmla="*/ 900 w 902"/>
                <a:gd name="T41" fmla="*/ 22 h 536"/>
                <a:gd name="T42" fmla="*/ 888 w 902"/>
                <a:gd name="T43" fmla="*/ 6 h 536"/>
                <a:gd name="T44" fmla="*/ 870 w 902"/>
                <a:gd name="T45" fmla="*/ 0 h 536"/>
                <a:gd name="T46" fmla="*/ 854 w 902"/>
                <a:gd name="T47" fmla="*/ 4 h 536"/>
                <a:gd name="T48" fmla="*/ 768 w 902"/>
                <a:gd name="T49" fmla="*/ 38 h 536"/>
                <a:gd name="T50" fmla="*/ 696 w 902"/>
                <a:gd name="T51" fmla="*/ 86 h 536"/>
                <a:gd name="T52" fmla="*/ 630 w 902"/>
                <a:gd name="T53" fmla="*/ 162 h 536"/>
                <a:gd name="T54" fmla="*/ 580 w 902"/>
                <a:gd name="T55" fmla="*/ 272 h 536"/>
                <a:gd name="T56" fmla="*/ 518 w 902"/>
                <a:gd name="T57" fmla="*/ 246 h 536"/>
                <a:gd name="T58" fmla="*/ 450 w 902"/>
                <a:gd name="T59" fmla="*/ 236 h 536"/>
                <a:gd name="T60" fmla="*/ 416 w 902"/>
                <a:gd name="T61" fmla="*/ 238 h 536"/>
                <a:gd name="T62" fmla="*/ 320 w 902"/>
                <a:gd name="T63" fmla="*/ 272 h 536"/>
                <a:gd name="T64" fmla="*/ 290 w 902"/>
                <a:gd name="T65" fmla="*/ 196 h 536"/>
                <a:gd name="T66" fmla="*/ 228 w 902"/>
                <a:gd name="T67" fmla="*/ 108 h 536"/>
                <a:gd name="T68" fmla="*/ 156 w 902"/>
                <a:gd name="T69" fmla="*/ 52 h 536"/>
                <a:gd name="T70" fmla="*/ 74 w 902"/>
                <a:gd name="T71" fmla="*/ 12 h 536"/>
                <a:gd name="T72" fmla="*/ 38 w 902"/>
                <a:gd name="T73" fmla="*/ 2 h 536"/>
                <a:gd name="T74" fmla="*/ 18 w 902"/>
                <a:gd name="T75" fmla="*/ 4 h 536"/>
                <a:gd name="T76" fmla="*/ 4 w 902"/>
                <a:gd name="T77" fmla="*/ 16 h 536"/>
                <a:gd name="T78" fmla="*/ 0 w 902"/>
                <a:gd name="T79" fmla="*/ 28 h 536"/>
                <a:gd name="T80" fmla="*/ 2 w 902"/>
                <a:gd name="T81" fmla="*/ 46 h 536"/>
                <a:gd name="T82" fmla="*/ 14 w 902"/>
                <a:gd name="T83" fmla="*/ 60 h 536"/>
                <a:gd name="T84" fmla="*/ 26 w 902"/>
                <a:gd name="T85" fmla="*/ 66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02" h="536">
                  <a:moveTo>
                    <a:pt x="26" y="66"/>
                  </a:moveTo>
                  <a:lnTo>
                    <a:pt x="26" y="66"/>
                  </a:lnTo>
                  <a:lnTo>
                    <a:pt x="36" y="68"/>
                  </a:lnTo>
                  <a:lnTo>
                    <a:pt x="60" y="76"/>
                  </a:lnTo>
                  <a:lnTo>
                    <a:pt x="94" y="90"/>
                  </a:lnTo>
                  <a:lnTo>
                    <a:pt x="114" y="100"/>
                  </a:lnTo>
                  <a:lnTo>
                    <a:pt x="132" y="112"/>
                  </a:lnTo>
                  <a:lnTo>
                    <a:pt x="152" y="128"/>
                  </a:lnTo>
                  <a:lnTo>
                    <a:pt x="172" y="146"/>
                  </a:lnTo>
                  <a:lnTo>
                    <a:pt x="192" y="166"/>
                  </a:lnTo>
                  <a:lnTo>
                    <a:pt x="210" y="190"/>
                  </a:lnTo>
                  <a:lnTo>
                    <a:pt x="228" y="216"/>
                  </a:lnTo>
                  <a:lnTo>
                    <a:pt x="242" y="246"/>
                  </a:lnTo>
                  <a:lnTo>
                    <a:pt x="254" y="280"/>
                  </a:lnTo>
                  <a:lnTo>
                    <a:pt x="264" y="318"/>
                  </a:lnTo>
                  <a:lnTo>
                    <a:pt x="264" y="318"/>
                  </a:lnTo>
                  <a:lnTo>
                    <a:pt x="246" y="340"/>
                  </a:lnTo>
                  <a:lnTo>
                    <a:pt x="230" y="364"/>
                  </a:lnTo>
                  <a:lnTo>
                    <a:pt x="216" y="388"/>
                  </a:lnTo>
                  <a:lnTo>
                    <a:pt x="204" y="416"/>
                  </a:lnTo>
                  <a:lnTo>
                    <a:pt x="194" y="444"/>
                  </a:lnTo>
                  <a:lnTo>
                    <a:pt x="186" y="472"/>
                  </a:lnTo>
                  <a:lnTo>
                    <a:pt x="182" y="502"/>
                  </a:lnTo>
                  <a:lnTo>
                    <a:pt x="180" y="534"/>
                  </a:lnTo>
                  <a:lnTo>
                    <a:pt x="180" y="534"/>
                  </a:lnTo>
                  <a:lnTo>
                    <a:pt x="180" y="536"/>
                  </a:lnTo>
                  <a:lnTo>
                    <a:pt x="720" y="536"/>
                  </a:lnTo>
                  <a:lnTo>
                    <a:pt x="720" y="536"/>
                  </a:lnTo>
                  <a:lnTo>
                    <a:pt x="720" y="534"/>
                  </a:lnTo>
                  <a:lnTo>
                    <a:pt x="720" y="534"/>
                  </a:lnTo>
                  <a:lnTo>
                    <a:pt x="718" y="502"/>
                  </a:lnTo>
                  <a:lnTo>
                    <a:pt x="714" y="472"/>
                  </a:lnTo>
                  <a:lnTo>
                    <a:pt x="708" y="444"/>
                  </a:lnTo>
                  <a:lnTo>
                    <a:pt x="698" y="416"/>
                  </a:lnTo>
                  <a:lnTo>
                    <a:pt x="686" y="388"/>
                  </a:lnTo>
                  <a:lnTo>
                    <a:pt x="672" y="364"/>
                  </a:lnTo>
                  <a:lnTo>
                    <a:pt x="656" y="340"/>
                  </a:lnTo>
                  <a:lnTo>
                    <a:pt x="636" y="318"/>
                  </a:lnTo>
                  <a:lnTo>
                    <a:pt x="636" y="318"/>
                  </a:lnTo>
                  <a:lnTo>
                    <a:pt x="646" y="280"/>
                  </a:lnTo>
                  <a:lnTo>
                    <a:pt x="658" y="246"/>
                  </a:lnTo>
                  <a:lnTo>
                    <a:pt x="674" y="216"/>
                  </a:lnTo>
                  <a:lnTo>
                    <a:pt x="690" y="190"/>
                  </a:lnTo>
                  <a:lnTo>
                    <a:pt x="708" y="166"/>
                  </a:lnTo>
                  <a:lnTo>
                    <a:pt x="728" y="146"/>
                  </a:lnTo>
                  <a:lnTo>
                    <a:pt x="748" y="128"/>
                  </a:lnTo>
                  <a:lnTo>
                    <a:pt x="768" y="112"/>
                  </a:lnTo>
                  <a:lnTo>
                    <a:pt x="788" y="100"/>
                  </a:lnTo>
                  <a:lnTo>
                    <a:pt x="806" y="90"/>
                  </a:lnTo>
                  <a:lnTo>
                    <a:pt x="840" y="76"/>
                  </a:lnTo>
                  <a:lnTo>
                    <a:pt x="864" y="68"/>
                  </a:lnTo>
                  <a:lnTo>
                    <a:pt x="874" y="66"/>
                  </a:lnTo>
                  <a:lnTo>
                    <a:pt x="874" y="66"/>
                  </a:lnTo>
                  <a:lnTo>
                    <a:pt x="882" y="64"/>
                  </a:lnTo>
                  <a:lnTo>
                    <a:pt x="886" y="60"/>
                  </a:lnTo>
                  <a:lnTo>
                    <a:pt x="892" y="56"/>
                  </a:lnTo>
                  <a:lnTo>
                    <a:pt x="896" y="52"/>
                  </a:lnTo>
                  <a:lnTo>
                    <a:pt x="900" y="46"/>
                  </a:lnTo>
                  <a:lnTo>
                    <a:pt x="902" y="40"/>
                  </a:lnTo>
                  <a:lnTo>
                    <a:pt x="902" y="34"/>
                  </a:lnTo>
                  <a:lnTo>
                    <a:pt x="902" y="28"/>
                  </a:lnTo>
                  <a:lnTo>
                    <a:pt x="902" y="28"/>
                  </a:lnTo>
                  <a:lnTo>
                    <a:pt x="900" y="22"/>
                  </a:lnTo>
                  <a:lnTo>
                    <a:pt x="896" y="16"/>
                  </a:lnTo>
                  <a:lnTo>
                    <a:pt x="892" y="10"/>
                  </a:lnTo>
                  <a:lnTo>
                    <a:pt x="888" y="6"/>
                  </a:lnTo>
                  <a:lnTo>
                    <a:pt x="882" y="4"/>
                  </a:lnTo>
                  <a:lnTo>
                    <a:pt x="876" y="2"/>
                  </a:lnTo>
                  <a:lnTo>
                    <a:pt x="870" y="0"/>
                  </a:lnTo>
                  <a:lnTo>
                    <a:pt x="864" y="2"/>
                  </a:lnTo>
                  <a:lnTo>
                    <a:pt x="864" y="2"/>
                  </a:lnTo>
                  <a:lnTo>
                    <a:pt x="854" y="4"/>
                  </a:lnTo>
                  <a:lnTo>
                    <a:pt x="826" y="12"/>
                  </a:lnTo>
                  <a:lnTo>
                    <a:pt x="790" y="26"/>
                  </a:lnTo>
                  <a:lnTo>
                    <a:pt x="768" y="38"/>
                  </a:lnTo>
                  <a:lnTo>
                    <a:pt x="744" y="52"/>
                  </a:lnTo>
                  <a:lnTo>
                    <a:pt x="720" y="68"/>
                  </a:lnTo>
                  <a:lnTo>
                    <a:pt x="696" y="86"/>
                  </a:lnTo>
                  <a:lnTo>
                    <a:pt x="674" y="108"/>
                  </a:lnTo>
                  <a:lnTo>
                    <a:pt x="650" y="134"/>
                  </a:lnTo>
                  <a:lnTo>
                    <a:pt x="630" y="162"/>
                  </a:lnTo>
                  <a:lnTo>
                    <a:pt x="610" y="196"/>
                  </a:lnTo>
                  <a:lnTo>
                    <a:pt x="594" y="232"/>
                  </a:lnTo>
                  <a:lnTo>
                    <a:pt x="580" y="272"/>
                  </a:lnTo>
                  <a:lnTo>
                    <a:pt x="580" y="272"/>
                  </a:lnTo>
                  <a:lnTo>
                    <a:pt x="550" y="258"/>
                  </a:lnTo>
                  <a:lnTo>
                    <a:pt x="518" y="246"/>
                  </a:lnTo>
                  <a:lnTo>
                    <a:pt x="486" y="238"/>
                  </a:lnTo>
                  <a:lnTo>
                    <a:pt x="468" y="236"/>
                  </a:lnTo>
                  <a:lnTo>
                    <a:pt x="450" y="236"/>
                  </a:lnTo>
                  <a:lnTo>
                    <a:pt x="450" y="236"/>
                  </a:lnTo>
                  <a:lnTo>
                    <a:pt x="432" y="236"/>
                  </a:lnTo>
                  <a:lnTo>
                    <a:pt x="416" y="238"/>
                  </a:lnTo>
                  <a:lnTo>
                    <a:pt x="382" y="246"/>
                  </a:lnTo>
                  <a:lnTo>
                    <a:pt x="350" y="258"/>
                  </a:lnTo>
                  <a:lnTo>
                    <a:pt x="320" y="272"/>
                  </a:lnTo>
                  <a:lnTo>
                    <a:pt x="320" y="272"/>
                  </a:lnTo>
                  <a:lnTo>
                    <a:pt x="308" y="232"/>
                  </a:lnTo>
                  <a:lnTo>
                    <a:pt x="290" y="196"/>
                  </a:lnTo>
                  <a:lnTo>
                    <a:pt x="272" y="162"/>
                  </a:lnTo>
                  <a:lnTo>
                    <a:pt x="250" y="134"/>
                  </a:lnTo>
                  <a:lnTo>
                    <a:pt x="228" y="108"/>
                  </a:lnTo>
                  <a:lnTo>
                    <a:pt x="204" y="86"/>
                  </a:lnTo>
                  <a:lnTo>
                    <a:pt x="180" y="68"/>
                  </a:lnTo>
                  <a:lnTo>
                    <a:pt x="156" y="52"/>
                  </a:lnTo>
                  <a:lnTo>
                    <a:pt x="134" y="38"/>
                  </a:lnTo>
                  <a:lnTo>
                    <a:pt x="112" y="28"/>
                  </a:lnTo>
                  <a:lnTo>
                    <a:pt x="74" y="12"/>
                  </a:lnTo>
                  <a:lnTo>
                    <a:pt x="48" y="4"/>
                  </a:lnTo>
                  <a:lnTo>
                    <a:pt x="38" y="2"/>
                  </a:lnTo>
                  <a:lnTo>
                    <a:pt x="38" y="2"/>
                  </a:lnTo>
                  <a:lnTo>
                    <a:pt x="30" y="0"/>
                  </a:lnTo>
                  <a:lnTo>
                    <a:pt x="24" y="2"/>
                  </a:lnTo>
                  <a:lnTo>
                    <a:pt x="18" y="4"/>
                  </a:lnTo>
                  <a:lnTo>
                    <a:pt x="14" y="6"/>
                  </a:lnTo>
                  <a:lnTo>
                    <a:pt x="8" y="10"/>
                  </a:lnTo>
                  <a:lnTo>
                    <a:pt x="4" y="16"/>
                  </a:lnTo>
                  <a:lnTo>
                    <a:pt x="2" y="22"/>
                  </a:lnTo>
                  <a:lnTo>
                    <a:pt x="0" y="28"/>
                  </a:lnTo>
                  <a:lnTo>
                    <a:pt x="0" y="28"/>
                  </a:lnTo>
                  <a:lnTo>
                    <a:pt x="0" y="34"/>
                  </a:lnTo>
                  <a:lnTo>
                    <a:pt x="0" y="40"/>
                  </a:lnTo>
                  <a:lnTo>
                    <a:pt x="2" y="46"/>
                  </a:lnTo>
                  <a:lnTo>
                    <a:pt x="4" y="52"/>
                  </a:lnTo>
                  <a:lnTo>
                    <a:pt x="8" y="56"/>
                  </a:lnTo>
                  <a:lnTo>
                    <a:pt x="14" y="60"/>
                  </a:lnTo>
                  <a:lnTo>
                    <a:pt x="20" y="64"/>
                  </a:lnTo>
                  <a:lnTo>
                    <a:pt x="26" y="66"/>
                  </a:lnTo>
                  <a:lnTo>
                    <a:pt x="26"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1" name="Freeform 45"/>
            <p:cNvSpPr>
              <a:spLocks/>
            </p:cNvSpPr>
            <p:nvPr/>
          </p:nvSpPr>
          <p:spPr bwMode="auto">
            <a:xfrm>
              <a:off x="277787" y="4606100"/>
              <a:ext cx="433936" cy="335159"/>
            </a:xfrm>
            <a:custGeom>
              <a:avLst/>
              <a:gdLst>
                <a:gd name="T0" fmla="*/ 1234 w 1274"/>
                <a:gd name="T1" fmla="*/ 0 h 984"/>
                <a:gd name="T2" fmla="*/ 1210 w 1274"/>
                <a:gd name="T3" fmla="*/ 6 h 984"/>
                <a:gd name="T4" fmla="*/ 1192 w 1274"/>
                <a:gd name="T5" fmla="*/ 22 h 984"/>
                <a:gd name="T6" fmla="*/ 1124 w 1274"/>
                <a:gd name="T7" fmla="*/ 240 h 984"/>
                <a:gd name="T8" fmla="*/ 982 w 1274"/>
                <a:gd name="T9" fmla="*/ 280 h 984"/>
                <a:gd name="T10" fmla="*/ 296 w 1274"/>
                <a:gd name="T11" fmla="*/ 256 h 984"/>
                <a:gd name="T12" fmla="*/ 148 w 1274"/>
                <a:gd name="T13" fmla="*/ 240 h 984"/>
                <a:gd name="T14" fmla="*/ 84 w 1274"/>
                <a:gd name="T15" fmla="*/ 32 h 984"/>
                <a:gd name="T16" fmla="*/ 70 w 1274"/>
                <a:gd name="T17" fmla="*/ 10 h 984"/>
                <a:gd name="T18" fmla="*/ 46 w 1274"/>
                <a:gd name="T19" fmla="*/ 0 h 984"/>
                <a:gd name="T20" fmla="*/ 30 w 1274"/>
                <a:gd name="T21" fmla="*/ 2 h 984"/>
                <a:gd name="T22" fmla="*/ 8 w 1274"/>
                <a:gd name="T23" fmla="*/ 16 h 984"/>
                <a:gd name="T24" fmla="*/ 0 w 1274"/>
                <a:gd name="T25" fmla="*/ 40 h 984"/>
                <a:gd name="T26" fmla="*/ 80 w 1274"/>
                <a:gd name="T27" fmla="*/ 312 h 984"/>
                <a:gd name="T28" fmla="*/ 278 w 1274"/>
                <a:gd name="T29" fmla="*/ 394 h 984"/>
                <a:gd name="T30" fmla="*/ 278 w 1274"/>
                <a:gd name="T31" fmla="*/ 458 h 984"/>
                <a:gd name="T32" fmla="*/ 18 w 1274"/>
                <a:gd name="T33" fmla="*/ 932 h 984"/>
                <a:gd name="T34" fmla="*/ 18 w 1274"/>
                <a:gd name="T35" fmla="*/ 950 h 984"/>
                <a:gd name="T36" fmla="*/ 32 w 1274"/>
                <a:gd name="T37" fmla="*/ 972 h 984"/>
                <a:gd name="T38" fmla="*/ 54 w 1274"/>
                <a:gd name="T39" fmla="*/ 984 h 984"/>
                <a:gd name="T40" fmla="*/ 72 w 1274"/>
                <a:gd name="T41" fmla="*/ 982 h 984"/>
                <a:gd name="T42" fmla="*/ 92 w 1274"/>
                <a:gd name="T43" fmla="*/ 970 h 984"/>
                <a:gd name="T44" fmla="*/ 104 w 1274"/>
                <a:gd name="T45" fmla="*/ 948 h 984"/>
                <a:gd name="T46" fmla="*/ 158 w 1274"/>
                <a:gd name="T47" fmla="*/ 642 h 984"/>
                <a:gd name="T48" fmla="*/ 304 w 1274"/>
                <a:gd name="T49" fmla="*/ 618 h 984"/>
                <a:gd name="T50" fmla="*/ 346 w 1274"/>
                <a:gd name="T51" fmla="*/ 720 h 984"/>
                <a:gd name="T52" fmla="*/ 402 w 1274"/>
                <a:gd name="T53" fmla="*/ 806 h 984"/>
                <a:gd name="T54" fmla="*/ 470 w 1274"/>
                <a:gd name="T55" fmla="*/ 872 h 984"/>
                <a:gd name="T56" fmla="*/ 550 w 1274"/>
                <a:gd name="T57" fmla="*/ 914 h 984"/>
                <a:gd name="T58" fmla="*/ 636 w 1274"/>
                <a:gd name="T59" fmla="*/ 928 h 984"/>
                <a:gd name="T60" fmla="*/ 696 w 1274"/>
                <a:gd name="T61" fmla="*/ 922 h 984"/>
                <a:gd name="T62" fmla="*/ 778 w 1274"/>
                <a:gd name="T63" fmla="*/ 888 h 984"/>
                <a:gd name="T64" fmla="*/ 850 w 1274"/>
                <a:gd name="T65" fmla="*/ 830 h 984"/>
                <a:gd name="T66" fmla="*/ 910 w 1274"/>
                <a:gd name="T67" fmla="*/ 750 h 984"/>
                <a:gd name="T68" fmla="*/ 958 w 1274"/>
                <a:gd name="T69" fmla="*/ 654 h 984"/>
                <a:gd name="T70" fmla="*/ 978 w 1274"/>
                <a:gd name="T71" fmla="*/ 582 h 984"/>
                <a:gd name="T72" fmla="*/ 1168 w 1274"/>
                <a:gd name="T73" fmla="*/ 948 h 984"/>
                <a:gd name="T74" fmla="*/ 1176 w 1274"/>
                <a:gd name="T75" fmla="*/ 964 h 984"/>
                <a:gd name="T76" fmla="*/ 1194 w 1274"/>
                <a:gd name="T77" fmla="*/ 980 h 984"/>
                <a:gd name="T78" fmla="*/ 1220 w 1274"/>
                <a:gd name="T79" fmla="*/ 984 h 984"/>
                <a:gd name="T80" fmla="*/ 1236 w 1274"/>
                <a:gd name="T81" fmla="*/ 978 h 984"/>
                <a:gd name="T82" fmla="*/ 1252 w 1274"/>
                <a:gd name="T83" fmla="*/ 958 h 984"/>
                <a:gd name="T84" fmla="*/ 1254 w 1274"/>
                <a:gd name="T85" fmla="*/ 932 h 984"/>
                <a:gd name="T86" fmla="*/ 994 w 1274"/>
                <a:gd name="T87" fmla="*/ 492 h 984"/>
                <a:gd name="T88" fmla="*/ 996 w 1274"/>
                <a:gd name="T89" fmla="*/ 424 h 984"/>
                <a:gd name="T90" fmla="*/ 1194 w 1274"/>
                <a:gd name="T91" fmla="*/ 312 h 984"/>
                <a:gd name="T92" fmla="*/ 1274 w 1274"/>
                <a:gd name="T93" fmla="*/ 48 h 984"/>
                <a:gd name="T94" fmla="*/ 1270 w 1274"/>
                <a:gd name="T95" fmla="*/ 24 h 984"/>
                <a:gd name="T96" fmla="*/ 1252 w 1274"/>
                <a:gd name="T97" fmla="*/ 6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74" h="984">
                  <a:moveTo>
                    <a:pt x="1244" y="2"/>
                  </a:moveTo>
                  <a:lnTo>
                    <a:pt x="1244" y="2"/>
                  </a:lnTo>
                  <a:lnTo>
                    <a:pt x="1234" y="0"/>
                  </a:lnTo>
                  <a:lnTo>
                    <a:pt x="1226" y="0"/>
                  </a:lnTo>
                  <a:lnTo>
                    <a:pt x="1218" y="2"/>
                  </a:lnTo>
                  <a:lnTo>
                    <a:pt x="1210" y="6"/>
                  </a:lnTo>
                  <a:lnTo>
                    <a:pt x="1204" y="10"/>
                  </a:lnTo>
                  <a:lnTo>
                    <a:pt x="1198" y="16"/>
                  </a:lnTo>
                  <a:lnTo>
                    <a:pt x="1192" y="22"/>
                  </a:lnTo>
                  <a:lnTo>
                    <a:pt x="1188" y="32"/>
                  </a:lnTo>
                  <a:lnTo>
                    <a:pt x="1188" y="32"/>
                  </a:lnTo>
                  <a:lnTo>
                    <a:pt x="1124" y="240"/>
                  </a:lnTo>
                  <a:lnTo>
                    <a:pt x="1124" y="240"/>
                  </a:lnTo>
                  <a:lnTo>
                    <a:pt x="982" y="280"/>
                  </a:lnTo>
                  <a:lnTo>
                    <a:pt x="982" y="280"/>
                  </a:lnTo>
                  <a:lnTo>
                    <a:pt x="976" y="256"/>
                  </a:lnTo>
                  <a:lnTo>
                    <a:pt x="296" y="256"/>
                  </a:lnTo>
                  <a:lnTo>
                    <a:pt x="296" y="256"/>
                  </a:lnTo>
                  <a:lnTo>
                    <a:pt x="292" y="280"/>
                  </a:lnTo>
                  <a:lnTo>
                    <a:pt x="292" y="280"/>
                  </a:lnTo>
                  <a:lnTo>
                    <a:pt x="148" y="240"/>
                  </a:lnTo>
                  <a:lnTo>
                    <a:pt x="148" y="240"/>
                  </a:lnTo>
                  <a:lnTo>
                    <a:pt x="84" y="32"/>
                  </a:lnTo>
                  <a:lnTo>
                    <a:pt x="84" y="32"/>
                  </a:lnTo>
                  <a:lnTo>
                    <a:pt x="80" y="22"/>
                  </a:lnTo>
                  <a:lnTo>
                    <a:pt x="76" y="16"/>
                  </a:lnTo>
                  <a:lnTo>
                    <a:pt x="70" y="10"/>
                  </a:lnTo>
                  <a:lnTo>
                    <a:pt x="62" y="6"/>
                  </a:lnTo>
                  <a:lnTo>
                    <a:pt x="56" y="2"/>
                  </a:lnTo>
                  <a:lnTo>
                    <a:pt x="46" y="0"/>
                  </a:lnTo>
                  <a:lnTo>
                    <a:pt x="38" y="0"/>
                  </a:lnTo>
                  <a:lnTo>
                    <a:pt x="30" y="2"/>
                  </a:lnTo>
                  <a:lnTo>
                    <a:pt x="30" y="2"/>
                  </a:lnTo>
                  <a:lnTo>
                    <a:pt x="22" y="6"/>
                  </a:lnTo>
                  <a:lnTo>
                    <a:pt x="14" y="10"/>
                  </a:lnTo>
                  <a:lnTo>
                    <a:pt x="8" y="16"/>
                  </a:lnTo>
                  <a:lnTo>
                    <a:pt x="4" y="24"/>
                  </a:lnTo>
                  <a:lnTo>
                    <a:pt x="0" y="32"/>
                  </a:lnTo>
                  <a:lnTo>
                    <a:pt x="0" y="40"/>
                  </a:lnTo>
                  <a:lnTo>
                    <a:pt x="0" y="48"/>
                  </a:lnTo>
                  <a:lnTo>
                    <a:pt x="0" y="56"/>
                  </a:lnTo>
                  <a:lnTo>
                    <a:pt x="80" y="312"/>
                  </a:lnTo>
                  <a:lnTo>
                    <a:pt x="278" y="366"/>
                  </a:lnTo>
                  <a:lnTo>
                    <a:pt x="278" y="366"/>
                  </a:lnTo>
                  <a:lnTo>
                    <a:pt x="278" y="394"/>
                  </a:lnTo>
                  <a:lnTo>
                    <a:pt x="276" y="422"/>
                  </a:lnTo>
                  <a:lnTo>
                    <a:pt x="276" y="422"/>
                  </a:lnTo>
                  <a:lnTo>
                    <a:pt x="278" y="458"/>
                  </a:lnTo>
                  <a:lnTo>
                    <a:pt x="280" y="492"/>
                  </a:lnTo>
                  <a:lnTo>
                    <a:pt x="80" y="582"/>
                  </a:lnTo>
                  <a:lnTo>
                    <a:pt x="18" y="932"/>
                  </a:lnTo>
                  <a:lnTo>
                    <a:pt x="18" y="932"/>
                  </a:lnTo>
                  <a:lnTo>
                    <a:pt x="18" y="942"/>
                  </a:lnTo>
                  <a:lnTo>
                    <a:pt x="18" y="950"/>
                  </a:lnTo>
                  <a:lnTo>
                    <a:pt x="22" y="958"/>
                  </a:lnTo>
                  <a:lnTo>
                    <a:pt x="26" y="966"/>
                  </a:lnTo>
                  <a:lnTo>
                    <a:pt x="32" y="972"/>
                  </a:lnTo>
                  <a:lnTo>
                    <a:pt x="38" y="978"/>
                  </a:lnTo>
                  <a:lnTo>
                    <a:pt x="46" y="980"/>
                  </a:lnTo>
                  <a:lnTo>
                    <a:pt x="54" y="984"/>
                  </a:lnTo>
                  <a:lnTo>
                    <a:pt x="54" y="984"/>
                  </a:lnTo>
                  <a:lnTo>
                    <a:pt x="62" y="984"/>
                  </a:lnTo>
                  <a:lnTo>
                    <a:pt x="72" y="982"/>
                  </a:lnTo>
                  <a:lnTo>
                    <a:pt x="80" y="980"/>
                  </a:lnTo>
                  <a:lnTo>
                    <a:pt x="86" y="976"/>
                  </a:lnTo>
                  <a:lnTo>
                    <a:pt x="92" y="970"/>
                  </a:lnTo>
                  <a:lnTo>
                    <a:pt x="98" y="964"/>
                  </a:lnTo>
                  <a:lnTo>
                    <a:pt x="102" y="956"/>
                  </a:lnTo>
                  <a:lnTo>
                    <a:pt x="104" y="948"/>
                  </a:lnTo>
                  <a:lnTo>
                    <a:pt x="104" y="948"/>
                  </a:lnTo>
                  <a:lnTo>
                    <a:pt x="158" y="642"/>
                  </a:lnTo>
                  <a:lnTo>
                    <a:pt x="158" y="642"/>
                  </a:lnTo>
                  <a:lnTo>
                    <a:pt x="294" y="582"/>
                  </a:lnTo>
                  <a:lnTo>
                    <a:pt x="294" y="582"/>
                  </a:lnTo>
                  <a:lnTo>
                    <a:pt x="304" y="618"/>
                  </a:lnTo>
                  <a:lnTo>
                    <a:pt x="316" y="654"/>
                  </a:lnTo>
                  <a:lnTo>
                    <a:pt x="330" y="688"/>
                  </a:lnTo>
                  <a:lnTo>
                    <a:pt x="346" y="720"/>
                  </a:lnTo>
                  <a:lnTo>
                    <a:pt x="362" y="750"/>
                  </a:lnTo>
                  <a:lnTo>
                    <a:pt x="382" y="780"/>
                  </a:lnTo>
                  <a:lnTo>
                    <a:pt x="402" y="806"/>
                  </a:lnTo>
                  <a:lnTo>
                    <a:pt x="424" y="830"/>
                  </a:lnTo>
                  <a:lnTo>
                    <a:pt x="446" y="852"/>
                  </a:lnTo>
                  <a:lnTo>
                    <a:pt x="470" y="872"/>
                  </a:lnTo>
                  <a:lnTo>
                    <a:pt x="496" y="888"/>
                  </a:lnTo>
                  <a:lnTo>
                    <a:pt x="522" y="902"/>
                  </a:lnTo>
                  <a:lnTo>
                    <a:pt x="550" y="914"/>
                  </a:lnTo>
                  <a:lnTo>
                    <a:pt x="578" y="922"/>
                  </a:lnTo>
                  <a:lnTo>
                    <a:pt x="608" y="926"/>
                  </a:lnTo>
                  <a:lnTo>
                    <a:pt x="636" y="928"/>
                  </a:lnTo>
                  <a:lnTo>
                    <a:pt x="636" y="928"/>
                  </a:lnTo>
                  <a:lnTo>
                    <a:pt x="666" y="926"/>
                  </a:lnTo>
                  <a:lnTo>
                    <a:pt x="696" y="922"/>
                  </a:lnTo>
                  <a:lnTo>
                    <a:pt x="724" y="914"/>
                  </a:lnTo>
                  <a:lnTo>
                    <a:pt x="750" y="902"/>
                  </a:lnTo>
                  <a:lnTo>
                    <a:pt x="778" y="888"/>
                  </a:lnTo>
                  <a:lnTo>
                    <a:pt x="802" y="872"/>
                  </a:lnTo>
                  <a:lnTo>
                    <a:pt x="826" y="852"/>
                  </a:lnTo>
                  <a:lnTo>
                    <a:pt x="850" y="830"/>
                  </a:lnTo>
                  <a:lnTo>
                    <a:pt x="872" y="806"/>
                  </a:lnTo>
                  <a:lnTo>
                    <a:pt x="892" y="780"/>
                  </a:lnTo>
                  <a:lnTo>
                    <a:pt x="910" y="750"/>
                  </a:lnTo>
                  <a:lnTo>
                    <a:pt x="928" y="720"/>
                  </a:lnTo>
                  <a:lnTo>
                    <a:pt x="944" y="688"/>
                  </a:lnTo>
                  <a:lnTo>
                    <a:pt x="958" y="654"/>
                  </a:lnTo>
                  <a:lnTo>
                    <a:pt x="968" y="618"/>
                  </a:lnTo>
                  <a:lnTo>
                    <a:pt x="978" y="582"/>
                  </a:lnTo>
                  <a:lnTo>
                    <a:pt x="978" y="582"/>
                  </a:lnTo>
                  <a:lnTo>
                    <a:pt x="1114" y="642"/>
                  </a:lnTo>
                  <a:lnTo>
                    <a:pt x="1114" y="642"/>
                  </a:lnTo>
                  <a:lnTo>
                    <a:pt x="1168" y="948"/>
                  </a:lnTo>
                  <a:lnTo>
                    <a:pt x="1168" y="948"/>
                  </a:lnTo>
                  <a:lnTo>
                    <a:pt x="1172" y="956"/>
                  </a:lnTo>
                  <a:lnTo>
                    <a:pt x="1176" y="964"/>
                  </a:lnTo>
                  <a:lnTo>
                    <a:pt x="1180" y="970"/>
                  </a:lnTo>
                  <a:lnTo>
                    <a:pt x="1186" y="976"/>
                  </a:lnTo>
                  <a:lnTo>
                    <a:pt x="1194" y="980"/>
                  </a:lnTo>
                  <a:lnTo>
                    <a:pt x="1202" y="982"/>
                  </a:lnTo>
                  <a:lnTo>
                    <a:pt x="1210" y="984"/>
                  </a:lnTo>
                  <a:lnTo>
                    <a:pt x="1220" y="984"/>
                  </a:lnTo>
                  <a:lnTo>
                    <a:pt x="1220" y="984"/>
                  </a:lnTo>
                  <a:lnTo>
                    <a:pt x="1228" y="980"/>
                  </a:lnTo>
                  <a:lnTo>
                    <a:pt x="1236" y="978"/>
                  </a:lnTo>
                  <a:lnTo>
                    <a:pt x="1242" y="972"/>
                  </a:lnTo>
                  <a:lnTo>
                    <a:pt x="1248" y="966"/>
                  </a:lnTo>
                  <a:lnTo>
                    <a:pt x="1252" y="958"/>
                  </a:lnTo>
                  <a:lnTo>
                    <a:pt x="1254" y="950"/>
                  </a:lnTo>
                  <a:lnTo>
                    <a:pt x="1256" y="942"/>
                  </a:lnTo>
                  <a:lnTo>
                    <a:pt x="1254" y="932"/>
                  </a:lnTo>
                  <a:lnTo>
                    <a:pt x="1192" y="582"/>
                  </a:lnTo>
                  <a:lnTo>
                    <a:pt x="994" y="492"/>
                  </a:lnTo>
                  <a:lnTo>
                    <a:pt x="994" y="492"/>
                  </a:lnTo>
                  <a:lnTo>
                    <a:pt x="996" y="458"/>
                  </a:lnTo>
                  <a:lnTo>
                    <a:pt x="996" y="424"/>
                  </a:lnTo>
                  <a:lnTo>
                    <a:pt x="996" y="424"/>
                  </a:lnTo>
                  <a:lnTo>
                    <a:pt x="996" y="394"/>
                  </a:lnTo>
                  <a:lnTo>
                    <a:pt x="994" y="368"/>
                  </a:lnTo>
                  <a:lnTo>
                    <a:pt x="1194" y="312"/>
                  </a:lnTo>
                  <a:lnTo>
                    <a:pt x="1272" y="56"/>
                  </a:lnTo>
                  <a:lnTo>
                    <a:pt x="1272" y="56"/>
                  </a:lnTo>
                  <a:lnTo>
                    <a:pt x="1274" y="48"/>
                  </a:lnTo>
                  <a:lnTo>
                    <a:pt x="1274" y="40"/>
                  </a:lnTo>
                  <a:lnTo>
                    <a:pt x="1272" y="32"/>
                  </a:lnTo>
                  <a:lnTo>
                    <a:pt x="1270" y="24"/>
                  </a:lnTo>
                  <a:lnTo>
                    <a:pt x="1264" y="16"/>
                  </a:lnTo>
                  <a:lnTo>
                    <a:pt x="1258" y="10"/>
                  </a:lnTo>
                  <a:lnTo>
                    <a:pt x="1252" y="6"/>
                  </a:lnTo>
                  <a:lnTo>
                    <a:pt x="1244" y="2"/>
                  </a:lnTo>
                  <a:lnTo>
                    <a:pt x="124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6" name="TextBox 15"/>
          <p:cNvSpPr txBox="1"/>
          <p:nvPr/>
        </p:nvSpPr>
        <p:spPr>
          <a:xfrm>
            <a:off x="1064612" y="4505885"/>
            <a:ext cx="3046628" cy="1292662"/>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So my password, </a:t>
            </a:r>
            <a:r>
              <a:rPr lang="en-US" sz="2400" b="1" dirty="0">
                <a:gradFill>
                  <a:gsLst>
                    <a:gs pos="2917">
                      <a:schemeClr val="tx1"/>
                    </a:gs>
                    <a:gs pos="30000">
                      <a:schemeClr val="tx1"/>
                    </a:gs>
                  </a:gsLst>
                  <a:lin ang="5400000" scaled="0"/>
                </a:gradFill>
                <a:latin typeface="+mj-lt"/>
              </a:rPr>
              <a:t>“hello”</a:t>
            </a:r>
            <a:r>
              <a:rPr lang="en-US" sz="2400" dirty="0">
                <a:gradFill>
                  <a:gsLst>
                    <a:gs pos="2917">
                      <a:schemeClr val="tx1"/>
                    </a:gs>
                    <a:gs pos="30000">
                      <a:schemeClr val="tx1"/>
                    </a:gs>
                  </a:gsLst>
                  <a:lin ang="5400000" scaled="0"/>
                </a:gradFill>
                <a:latin typeface="+mj-lt"/>
              </a:rPr>
              <a:t> is something more complicated?</a:t>
            </a:r>
          </a:p>
        </p:txBody>
      </p:sp>
      <p:sp>
        <p:nvSpPr>
          <p:cNvPr id="25" name="Rectangle 24"/>
          <p:cNvSpPr/>
          <p:nvPr/>
        </p:nvSpPr>
        <p:spPr>
          <a:xfrm>
            <a:off x="7760719" y="5308824"/>
            <a:ext cx="3429284" cy="1015663"/>
          </a:xfrm>
          <a:prstGeom prst="rect">
            <a:avLst/>
          </a:prstGeom>
        </p:spPr>
        <p:txBody>
          <a:bodyPr wrap="square">
            <a:spAutoFit/>
          </a:bodyPr>
          <a:lstStyle/>
          <a:p>
            <a:r>
              <a:rPr lang="en-US" sz="2000" b="1" dirty="0">
                <a:solidFill>
                  <a:schemeClr val="bg1">
                    <a:lumMod val="50000"/>
                  </a:schemeClr>
                </a:solidFill>
                <a:latin typeface="+mj-lt"/>
              </a:rPr>
              <a:t>2cf24dba5fb0a30e26e83b2ac5b9e29e1b161e5c1fa7425e73043362938b9824</a:t>
            </a:r>
            <a:endParaRPr lang="en-US" sz="2000" b="1" dirty="0">
              <a:latin typeface="+mj-lt"/>
            </a:endParaRPr>
          </a:p>
        </p:txBody>
      </p:sp>
      <p:sp>
        <p:nvSpPr>
          <p:cNvPr id="27" name="Oval 26"/>
          <p:cNvSpPr/>
          <p:nvPr/>
        </p:nvSpPr>
        <p:spPr bwMode="auto">
          <a:xfrm>
            <a:off x="4727659" y="4927202"/>
            <a:ext cx="274651" cy="285793"/>
          </a:xfrm>
          <a:prstGeom prst="ellipse">
            <a:avLst/>
          </a:prstGeom>
          <a:solidFill>
            <a:schemeClr val="bg1">
              <a:lumMod val="95000"/>
            </a:schemeClr>
          </a:solid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Oval 27"/>
          <p:cNvSpPr/>
          <p:nvPr/>
        </p:nvSpPr>
        <p:spPr bwMode="auto">
          <a:xfrm>
            <a:off x="5068122" y="5118096"/>
            <a:ext cx="222060" cy="231069"/>
          </a:xfrm>
          <a:prstGeom prst="ellipse">
            <a:avLst/>
          </a:prstGeom>
          <a:solidFill>
            <a:schemeClr val="bg1">
              <a:lumMod val="95000"/>
            </a:schemeClr>
          </a:solid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Oval 28"/>
          <p:cNvSpPr/>
          <p:nvPr/>
        </p:nvSpPr>
        <p:spPr bwMode="auto">
          <a:xfrm>
            <a:off x="4151070" y="4799003"/>
            <a:ext cx="388262" cy="404013"/>
          </a:xfrm>
          <a:prstGeom prst="ellipse">
            <a:avLst/>
          </a:prstGeom>
          <a:solidFill>
            <a:schemeClr val="bg1">
              <a:lumMod val="95000"/>
            </a:schemeClr>
          </a:solid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p:cNvSpPr txBox="1"/>
          <p:nvPr/>
        </p:nvSpPr>
        <p:spPr>
          <a:xfrm>
            <a:off x="7632700" y="4458657"/>
            <a:ext cx="3088640" cy="849463"/>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lumMod val="50000"/>
                  </a:schemeClr>
                </a:solidFill>
                <a:latin typeface="+mj-lt"/>
              </a:rPr>
              <a:t>Using the </a:t>
            </a:r>
            <a:r>
              <a:rPr lang="en-US" sz="2000" dirty="0">
                <a:solidFill>
                  <a:schemeClr val="tx2"/>
                </a:solidFill>
                <a:latin typeface="+mj-lt"/>
              </a:rPr>
              <a:t>SHA-256</a:t>
            </a:r>
            <a:r>
              <a:rPr lang="en-US" sz="2000" dirty="0">
                <a:solidFill>
                  <a:schemeClr val="bg1">
                    <a:lumMod val="50000"/>
                  </a:schemeClr>
                </a:solidFill>
                <a:latin typeface="+mj-lt"/>
              </a:rPr>
              <a:t> hash, “hello” becomes:</a:t>
            </a:r>
          </a:p>
        </p:txBody>
      </p:sp>
      <p:sp>
        <p:nvSpPr>
          <p:cNvPr id="33" name="Rectangle 32"/>
          <p:cNvSpPr/>
          <p:nvPr/>
        </p:nvSpPr>
        <p:spPr bwMode="auto">
          <a:xfrm>
            <a:off x="7632700" y="4458657"/>
            <a:ext cx="3970020" cy="2023423"/>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1495785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800"/>
              <a:t>Brute force can </a:t>
            </a:r>
            <a:r>
              <a:rPr lang="en-US" sz="4800" dirty="0"/>
              <a:t>break passwords</a:t>
            </a:r>
          </a:p>
        </p:txBody>
      </p:sp>
      <p:sp>
        <p:nvSpPr>
          <p:cNvPr id="5" name="TextBox 4"/>
          <p:cNvSpPr txBox="1"/>
          <p:nvPr/>
        </p:nvSpPr>
        <p:spPr>
          <a:xfrm>
            <a:off x="269240" y="929859"/>
            <a:ext cx="1133348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Brute Force is what it sounds like: cracking a password through trial and error</a:t>
            </a:r>
          </a:p>
        </p:txBody>
      </p:sp>
      <p:sp>
        <p:nvSpPr>
          <p:cNvPr id="2" name="Rectangle 1"/>
          <p:cNvSpPr/>
          <p:nvPr/>
        </p:nvSpPr>
        <p:spPr bwMode="auto">
          <a:xfrm>
            <a:off x="0" y="5377543"/>
            <a:ext cx="12192000" cy="75153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200" dirty="0">
                <a:gradFill>
                  <a:gsLst>
                    <a:gs pos="0">
                      <a:srgbClr val="FFFFFF"/>
                    </a:gs>
                    <a:gs pos="100000">
                      <a:srgbClr val="FFFFFF"/>
                    </a:gs>
                  </a:gsLst>
                  <a:lin ang="5400000" scaled="0"/>
                </a:gradFill>
                <a:ea typeface="Segoe UI" pitchFamily="34" charset="0"/>
                <a:cs typeface="Segoe UI" pitchFamily="34" charset="0"/>
              </a:rPr>
              <a:t>Can this be effective?</a:t>
            </a:r>
          </a:p>
        </p:txBody>
      </p:sp>
      <p:sp>
        <p:nvSpPr>
          <p:cNvPr id="4" name="TextBox 3"/>
          <p:cNvSpPr txBox="1"/>
          <p:nvPr/>
        </p:nvSpPr>
        <p:spPr>
          <a:xfrm>
            <a:off x="590550" y="1901091"/>
            <a:ext cx="6838949" cy="627864"/>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
            </a:pPr>
            <a:r>
              <a:rPr lang="en-US" sz="2400" dirty="0">
                <a:gradFill>
                  <a:gsLst>
                    <a:gs pos="2917">
                      <a:schemeClr val="tx1"/>
                    </a:gs>
                    <a:gs pos="30000">
                      <a:schemeClr val="tx1"/>
                    </a:gs>
                  </a:gsLst>
                  <a:lin ang="5400000" scaled="0"/>
                </a:gradFill>
                <a:latin typeface="+mj-lt"/>
              </a:rPr>
              <a:t>Short passwords are easier to break</a:t>
            </a:r>
          </a:p>
        </p:txBody>
      </p:sp>
      <p:sp>
        <p:nvSpPr>
          <p:cNvPr id="39" name="TextBox 38"/>
          <p:cNvSpPr txBox="1"/>
          <p:nvPr/>
        </p:nvSpPr>
        <p:spPr>
          <a:xfrm>
            <a:off x="590550" y="2528955"/>
            <a:ext cx="6838949" cy="1292662"/>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
            </a:pPr>
            <a:r>
              <a:rPr lang="en-US" sz="2400" dirty="0">
                <a:gradFill>
                  <a:gsLst>
                    <a:gs pos="2917">
                      <a:schemeClr val="tx1"/>
                    </a:gs>
                    <a:gs pos="30000">
                      <a:schemeClr val="tx1"/>
                    </a:gs>
                  </a:gsLst>
                  <a:lin ang="5400000" scaled="0"/>
                </a:gradFill>
                <a:latin typeface="+mj-lt"/>
              </a:rPr>
              <a:t>Brute Force works best with offline systems that do not have limitations on incorrect password entries</a:t>
            </a:r>
          </a:p>
        </p:txBody>
      </p:sp>
      <p:grpSp>
        <p:nvGrpSpPr>
          <p:cNvPr id="11" name="Group 10"/>
          <p:cNvGrpSpPr/>
          <p:nvPr/>
        </p:nvGrpSpPr>
        <p:grpSpPr>
          <a:xfrm>
            <a:off x="8098971" y="1767487"/>
            <a:ext cx="3185997" cy="3086391"/>
            <a:chOff x="7924800" y="1942809"/>
            <a:chExt cx="3185997" cy="3086391"/>
          </a:xfrm>
        </p:grpSpPr>
        <p:sp>
          <p:nvSpPr>
            <p:cNvPr id="40" name="TextBox 39"/>
            <p:cNvSpPr txBox="1"/>
            <p:nvPr/>
          </p:nvSpPr>
          <p:spPr>
            <a:xfrm>
              <a:off x="7967847" y="3763912"/>
              <a:ext cx="3142950" cy="1126462"/>
            </a:xfrm>
            <a:prstGeom prst="rect">
              <a:avLst/>
            </a:prstGeom>
            <a:noFill/>
          </p:spPr>
          <p:txBody>
            <a:bodyPr wrap="square" lIns="182880" tIns="146304" rIns="182880" bIns="146304" rtlCol="0">
              <a:spAutoFit/>
            </a:bodyPr>
            <a:lstStyle/>
            <a:p>
              <a:pPr>
                <a:lnSpc>
                  <a:spcPct val="90000"/>
                </a:lnSpc>
                <a:spcAft>
                  <a:spcPts val="600"/>
                </a:spcAft>
              </a:pPr>
              <a:r>
                <a:rPr lang="en-US" sz="2000" i="1" dirty="0">
                  <a:solidFill>
                    <a:schemeClr val="tx1">
                      <a:lumMod val="60000"/>
                      <a:lumOff val="40000"/>
                    </a:schemeClr>
                  </a:solidFill>
                </a:rPr>
                <a:t>Modern GPUs are ideal for repetitive tasks, such as password hacking </a:t>
              </a:r>
            </a:p>
          </p:txBody>
        </p:sp>
        <p:pic>
          <p:nvPicPr>
            <p:cNvPr id="16386" name="Picture 2" descr="https://upload.wikimedia.org/wikipedia/commons/thumb/5/5c/ATI_Radeon_HD_5770_Graphics_Card-oblique_view.jpg/800px-ATI_Radeon_HD_5770_Graphics_Card-oblique_view.jpg"/>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459121" y="2115795"/>
              <a:ext cx="2078250" cy="1826262"/>
            </a:xfrm>
            <a:prstGeom prst="rect">
              <a:avLst/>
            </a:prstGeom>
            <a:noFill/>
            <a:extLst>
              <a:ext uri="{909E8E84-426E-40DD-AFC4-6F175D3DCCD1}">
                <a14:hiddenFill xmlns:a14="http://schemas.microsoft.com/office/drawing/2010/main">
                  <a:solidFill>
                    <a:srgbClr val="FFFFFF"/>
                  </a:solidFill>
                </a14:hiddenFill>
              </a:ext>
            </a:extLst>
          </p:spPr>
        </p:pic>
        <p:sp>
          <p:nvSpPr>
            <p:cNvPr id="10" name="Rounded Rectangle 9"/>
            <p:cNvSpPr/>
            <p:nvPr/>
          </p:nvSpPr>
          <p:spPr bwMode="auto">
            <a:xfrm>
              <a:off x="7924800" y="1942809"/>
              <a:ext cx="3069771" cy="3086391"/>
            </a:xfrm>
            <a:prstGeom prst="roundRect">
              <a:avLst/>
            </a:prstGeom>
            <a:noFill/>
            <a:ln>
              <a:solidFill>
                <a:schemeClr val="tx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6736700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https://upload.wikimedia.org/wikipedia/en/timeline/d8b53fa1e67acc2deeea77c87a9402a7.png"/>
          <p:cNvPicPr>
            <a:picLocks noChangeAspect="1" noChangeArrowheads="1"/>
          </p:cNvPicPr>
          <p:nvPr/>
        </p:nvPicPr>
        <p:blipFill rotWithShape="1">
          <a:blip r:embed="rId3">
            <a:extLst>
              <a:ext uri="{28A0092B-C50C-407E-A947-70E740481C1C}">
                <a14:useLocalDpi xmlns:a14="http://schemas.microsoft.com/office/drawing/2010/main" val="0"/>
              </a:ext>
            </a:extLst>
          </a:blip>
          <a:srcRect l="6980" t="4874" r="41919" b="5711"/>
          <a:stretch/>
        </p:blipFill>
        <p:spPr bwMode="auto">
          <a:xfrm>
            <a:off x="-58994" y="-94095"/>
            <a:ext cx="12250994" cy="6966844"/>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bwMode="auto">
          <a:xfrm>
            <a:off x="-58994" y="-94095"/>
            <a:ext cx="12250994" cy="6966844"/>
          </a:xfrm>
          <a:prstGeom prst="rect">
            <a:avLst/>
          </a:prstGeom>
          <a:solidFill>
            <a:srgbClr val="FFFFFF">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269240" y="289511"/>
            <a:ext cx="11655840" cy="12682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a:noFill/>
        </p:spPr>
        <p:txBody>
          <a:bodyPr/>
          <a:lstStyle/>
          <a:p>
            <a:r>
              <a:rPr lang="en-US" sz="4800"/>
              <a:t>Brute force is </a:t>
            </a:r>
            <a:r>
              <a:rPr lang="en-US" sz="4800" dirty="0"/>
              <a:t>optimized with a Rainbow Table</a:t>
            </a:r>
          </a:p>
        </p:txBody>
      </p:sp>
      <p:sp>
        <p:nvSpPr>
          <p:cNvPr id="5" name="TextBox 4"/>
          <p:cNvSpPr txBox="1"/>
          <p:nvPr/>
        </p:nvSpPr>
        <p:spPr>
          <a:xfrm>
            <a:off x="269240" y="929859"/>
            <a:ext cx="1133348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The use of a Rainbow Table will dramatically speed up the time to uncover a password</a:t>
            </a:r>
          </a:p>
        </p:txBody>
      </p:sp>
      <p:grpSp>
        <p:nvGrpSpPr>
          <p:cNvPr id="15" name="Group 14"/>
          <p:cNvGrpSpPr/>
          <p:nvPr/>
        </p:nvGrpSpPr>
        <p:grpSpPr>
          <a:xfrm>
            <a:off x="497840" y="2017528"/>
            <a:ext cx="11174280" cy="4135621"/>
            <a:chOff x="497840" y="2017528"/>
            <a:chExt cx="11174280" cy="4135621"/>
          </a:xfrm>
        </p:grpSpPr>
        <p:sp>
          <p:nvSpPr>
            <p:cNvPr id="8" name="Rectangle 7"/>
            <p:cNvSpPr/>
            <p:nvPr/>
          </p:nvSpPr>
          <p:spPr bwMode="auto">
            <a:xfrm>
              <a:off x="4629150" y="2017528"/>
              <a:ext cx="7042970" cy="4135621"/>
            </a:xfrm>
            <a:prstGeom prst="rect">
              <a:avLst/>
            </a:prstGeom>
            <a:solidFill>
              <a:schemeClr val="bg1"/>
            </a:solidFill>
            <a:ln>
              <a:solidFill>
                <a:schemeClr val="tx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497840" y="2017529"/>
              <a:ext cx="4131310" cy="4135620"/>
            </a:xfrm>
            <a:prstGeom prst="rect">
              <a:avLst/>
            </a:prstGeom>
            <a:solidFill>
              <a:schemeClr val="accent2"/>
            </a:solidFill>
            <a:ln>
              <a:solidFill>
                <a:schemeClr val="tx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9" name="TextBox 8"/>
          <p:cNvSpPr txBox="1"/>
          <p:nvPr/>
        </p:nvSpPr>
        <p:spPr>
          <a:xfrm>
            <a:off x="4762499" y="2192671"/>
            <a:ext cx="6853975" cy="794064"/>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A Rainbow Table looks at patterns across a language to optimize its searches using high frequency characters first.</a:t>
            </a:r>
          </a:p>
        </p:txBody>
      </p:sp>
      <p:sp>
        <p:nvSpPr>
          <p:cNvPr id="13" name="Rectangle 12"/>
          <p:cNvSpPr/>
          <p:nvPr/>
        </p:nvSpPr>
        <p:spPr>
          <a:xfrm>
            <a:off x="689609" y="2676968"/>
            <a:ext cx="3747771" cy="2308324"/>
          </a:xfrm>
          <a:prstGeom prst="rect">
            <a:avLst/>
          </a:prstGeom>
        </p:spPr>
        <p:txBody>
          <a:bodyPr wrap="square">
            <a:spAutoFit/>
          </a:bodyPr>
          <a:lstStyle/>
          <a:p>
            <a:r>
              <a:rPr lang="en-US" sz="2400" dirty="0">
                <a:solidFill>
                  <a:schemeClr val="bg1"/>
                </a:solidFill>
              </a:rPr>
              <a:t>Rainbow Tables are large sets of precomputed tables filled with hash values that are pre-matched to possible plaintext passwords</a:t>
            </a:r>
          </a:p>
        </p:txBody>
      </p:sp>
      <p:sp>
        <p:nvSpPr>
          <p:cNvPr id="19" name="TextBox 18"/>
          <p:cNvSpPr txBox="1"/>
          <p:nvPr/>
        </p:nvSpPr>
        <p:spPr>
          <a:xfrm>
            <a:off x="4980684" y="5180554"/>
            <a:ext cx="6635790" cy="794064"/>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tx2"/>
                </a:solidFill>
              </a:rPr>
              <a:t>Brute Force with a Rainbow Table can be very effective depending on the password length.</a:t>
            </a:r>
          </a:p>
        </p:txBody>
      </p:sp>
      <p:pic>
        <p:nvPicPr>
          <p:cNvPr id="20" name="Picture 2" descr="https://upload.wikimedia.org/wikipedia/en/timeline/d8b53fa1e67acc2deeea77c87a9402a7.png"/>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762499" y="2872972"/>
            <a:ext cx="6865875" cy="22314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280006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800" dirty="0"/>
              <a:t>Countermeasure #1: Put some salt on it</a:t>
            </a:r>
          </a:p>
        </p:txBody>
      </p:sp>
      <p:grpSp>
        <p:nvGrpSpPr>
          <p:cNvPr id="16385" name="Group 16384"/>
          <p:cNvGrpSpPr/>
          <p:nvPr/>
        </p:nvGrpSpPr>
        <p:grpSpPr>
          <a:xfrm>
            <a:off x="353473" y="1303134"/>
            <a:ext cx="11571607" cy="3408742"/>
            <a:chOff x="397608" y="1189176"/>
            <a:chExt cx="11571607" cy="3408742"/>
          </a:xfrm>
        </p:grpSpPr>
        <p:grpSp>
          <p:nvGrpSpPr>
            <p:cNvPr id="22" name="Group 21"/>
            <p:cNvGrpSpPr/>
            <p:nvPr/>
          </p:nvGrpSpPr>
          <p:grpSpPr>
            <a:xfrm>
              <a:off x="397608" y="1553459"/>
              <a:ext cx="4583488" cy="2479170"/>
              <a:chOff x="455973" y="1553459"/>
              <a:chExt cx="4583488" cy="2479170"/>
            </a:xfrm>
            <a:solidFill>
              <a:schemeClr val="bg1">
                <a:lumMod val="95000"/>
              </a:schemeClr>
            </a:solidFill>
          </p:grpSpPr>
          <p:sp>
            <p:nvSpPr>
              <p:cNvPr id="9" name="Rounded Rectangle 8"/>
              <p:cNvSpPr/>
              <p:nvPr/>
            </p:nvSpPr>
            <p:spPr bwMode="auto">
              <a:xfrm>
                <a:off x="455973" y="1553459"/>
                <a:ext cx="3239727" cy="2473792"/>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Isosceles Triangle 15"/>
              <p:cNvSpPr/>
              <p:nvPr/>
            </p:nvSpPr>
            <p:spPr bwMode="auto">
              <a:xfrm rot="5400000">
                <a:off x="3043541" y="2031331"/>
                <a:ext cx="2473792" cy="1518048"/>
              </a:xfrm>
              <a:prstGeom prst="triangle">
                <a:avLst>
                  <a:gd name="adj" fmla="val 238"/>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2723745" y="1553459"/>
                <a:ext cx="1478604" cy="36116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bwMode="auto">
              <a:xfrm>
                <a:off x="2036927" y="3671466"/>
                <a:ext cx="1478604" cy="36116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8" name="Group 27"/>
            <p:cNvGrpSpPr/>
            <p:nvPr/>
          </p:nvGrpSpPr>
          <p:grpSpPr>
            <a:xfrm flipH="1">
              <a:off x="7063142" y="1545899"/>
              <a:ext cx="4803573" cy="2481351"/>
              <a:chOff x="455973" y="1553459"/>
              <a:chExt cx="4583488" cy="2479170"/>
            </a:xfrm>
            <a:solidFill>
              <a:schemeClr val="bg1">
                <a:lumMod val="95000"/>
              </a:schemeClr>
            </a:solidFill>
          </p:grpSpPr>
          <p:sp>
            <p:nvSpPr>
              <p:cNvPr id="29" name="Rounded Rectangle 28"/>
              <p:cNvSpPr/>
              <p:nvPr/>
            </p:nvSpPr>
            <p:spPr bwMode="auto">
              <a:xfrm>
                <a:off x="455973" y="1553459"/>
                <a:ext cx="3239727" cy="2473792"/>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Isosceles Triangle 29"/>
              <p:cNvSpPr/>
              <p:nvPr/>
            </p:nvSpPr>
            <p:spPr bwMode="auto">
              <a:xfrm rot="5400000">
                <a:off x="3043541" y="2031331"/>
                <a:ext cx="2473792" cy="1518048"/>
              </a:xfrm>
              <a:prstGeom prst="triangle">
                <a:avLst>
                  <a:gd name="adj" fmla="val 238"/>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2723745" y="1553459"/>
                <a:ext cx="1478604" cy="36116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2036927" y="3671466"/>
                <a:ext cx="1478604" cy="36116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4" name="Oval 23"/>
            <p:cNvSpPr/>
            <p:nvPr/>
          </p:nvSpPr>
          <p:spPr bwMode="auto">
            <a:xfrm>
              <a:off x="3938968" y="1189176"/>
              <a:ext cx="4199651" cy="340874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3"/>
            <p:cNvSpPr txBox="1"/>
            <p:nvPr/>
          </p:nvSpPr>
          <p:spPr>
            <a:xfrm>
              <a:off x="8519938" y="2077438"/>
              <a:ext cx="3449277" cy="1618905"/>
            </a:xfrm>
            <a:prstGeom prst="rect">
              <a:avLst/>
            </a:prstGeom>
            <a:noFill/>
          </p:spPr>
          <p:txBody>
            <a:bodyPr wrap="square" lIns="182880" tIns="146304" rIns="182880" bIns="146304" rtlCol="0">
              <a:spAutoFit/>
            </a:bodyPr>
            <a:lstStyle>
              <a:defPPr>
                <a:defRPr lang="en-US"/>
              </a:defPPr>
              <a:lvl1pPr lvl="0">
                <a:lnSpc>
                  <a:spcPct val="90000"/>
                </a:lnSpc>
                <a:spcAft>
                  <a:spcPts val="600"/>
                </a:spcAft>
                <a:defRPr>
                  <a:solidFill>
                    <a:schemeClr val="bg1">
                      <a:lumMod val="50000"/>
                    </a:schemeClr>
                  </a:solidFill>
                </a:defRPr>
              </a:lvl1pPr>
            </a:lstStyle>
            <a:p>
              <a:r>
                <a:rPr lang="en-US" dirty="0"/>
                <a:t>SHA-256_hash ("hello“ + </a:t>
              </a:r>
              <a:r>
                <a:rPr lang="en-US" dirty="0">
                  <a:solidFill>
                    <a:schemeClr val="tx2"/>
                  </a:solidFill>
                </a:rPr>
                <a:t>"QxLUF1bgIAdeQX"</a:t>
              </a:r>
              <a:r>
                <a:rPr lang="en-US" dirty="0"/>
                <a:t>) = </a:t>
              </a:r>
            </a:p>
            <a:p>
              <a:r>
                <a:rPr lang="en-US" altLang="en-US" dirty="0"/>
                <a:t>9e209040c863f84a31e719795b2577523954739fe5ed3b58a75cff2127075ed1 </a:t>
              </a:r>
              <a:endParaRPr lang="en-US" dirty="0"/>
            </a:p>
          </p:txBody>
        </p:sp>
        <p:sp>
          <p:nvSpPr>
            <p:cNvPr id="15" name="Freeform 14"/>
            <p:cNvSpPr>
              <a:spLocks noChangeAspect="1"/>
            </p:cNvSpPr>
            <p:nvPr/>
          </p:nvSpPr>
          <p:spPr bwMode="black">
            <a:xfrm>
              <a:off x="4957184" y="1423072"/>
              <a:ext cx="2163221" cy="2091728"/>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a:xfrm>
              <a:off x="663978" y="1731077"/>
              <a:ext cx="3449277"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Unsalted (less safe)</a:t>
              </a:r>
            </a:p>
          </p:txBody>
        </p:sp>
        <p:sp>
          <p:nvSpPr>
            <p:cNvPr id="17" name="TextBox 16"/>
            <p:cNvSpPr txBox="1"/>
            <p:nvPr/>
          </p:nvSpPr>
          <p:spPr>
            <a:xfrm>
              <a:off x="8519938" y="1716275"/>
              <a:ext cx="3449277"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Salted (more safe)</a:t>
              </a:r>
            </a:p>
          </p:txBody>
        </p:sp>
        <p:sp>
          <p:nvSpPr>
            <p:cNvPr id="18" name="TextBox 3"/>
            <p:cNvSpPr txBox="1"/>
            <p:nvPr/>
          </p:nvSpPr>
          <p:spPr>
            <a:xfrm>
              <a:off x="663978" y="2249140"/>
              <a:ext cx="3239727" cy="1452705"/>
            </a:xfrm>
            <a:prstGeom prst="rect">
              <a:avLst/>
            </a:prstGeom>
            <a:noFill/>
          </p:spPr>
          <p:txBody>
            <a:bodyPr wrap="square" lIns="182880" tIns="146304" rIns="182880" bIns="146304" rtlCol="0">
              <a:spAutoFit/>
            </a:bodyPr>
            <a:lstStyle/>
            <a:p>
              <a:pPr lvl="0">
                <a:lnSpc>
                  <a:spcPct val="90000"/>
                </a:lnSpc>
                <a:spcAft>
                  <a:spcPts val="600"/>
                </a:spcAft>
              </a:pPr>
              <a:r>
                <a:rPr lang="en-US" dirty="0">
                  <a:solidFill>
                    <a:schemeClr val="bg1">
                      <a:lumMod val="50000"/>
                    </a:schemeClr>
                  </a:solidFill>
                </a:rPr>
                <a:t>SHA-256_hash ("hello“) = </a:t>
              </a:r>
            </a:p>
            <a:p>
              <a:r>
                <a:rPr lang="en-US" dirty="0">
                  <a:solidFill>
                    <a:schemeClr val="bg1">
                      <a:lumMod val="50000"/>
                    </a:schemeClr>
                  </a:solidFill>
                </a:rPr>
                <a:t>2cf24dba5fb0a30e26e83b2ac5b9e29e1b161e5c1fa7425e73043362938b9824</a:t>
              </a:r>
            </a:p>
          </p:txBody>
        </p:sp>
        <p:sp>
          <p:nvSpPr>
            <p:cNvPr id="20" name="Freeform 19"/>
            <p:cNvSpPr>
              <a:spLocks noChangeAspect="1"/>
            </p:cNvSpPr>
            <p:nvPr/>
          </p:nvSpPr>
          <p:spPr bwMode="black">
            <a:xfrm>
              <a:off x="8333204" y="1932399"/>
              <a:ext cx="255463" cy="290078"/>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911" tIns="75929" rIns="94911" bIns="75929" numCol="1" spcCol="0" rtlCol="0" fromWordArt="0" anchor="t" anchorCtr="0" forceAA="0" compatLnSpc="1">
              <a:prstTxWarp prst="textNoShape">
                <a:avLst/>
              </a:prstTxWarp>
              <a:noAutofit/>
            </a:bodyPr>
            <a:lstStyle/>
            <a:p>
              <a:pPr algn="ctr" defTabSz="483924" fontAlgn="base">
                <a:lnSpc>
                  <a:spcPct val="90000"/>
                </a:lnSpc>
                <a:spcBef>
                  <a:spcPct val="0"/>
                </a:spcBef>
                <a:spcAft>
                  <a:spcPct val="0"/>
                </a:spcAft>
              </a:pPr>
              <a:endParaRPr lang="en-US" sz="1246" dirty="0">
                <a:gradFill>
                  <a:gsLst>
                    <a:gs pos="0">
                      <a:srgbClr val="FFFFFF"/>
                    </a:gs>
                    <a:gs pos="100000">
                      <a:srgbClr val="FFFFFF"/>
                    </a:gs>
                  </a:gsLst>
                  <a:lin ang="5400000" scaled="0"/>
                </a:gradFill>
                <a:ea typeface="Segoe UI" pitchFamily="34" charset="0"/>
                <a:cs typeface="Segoe UI" pitchFamily="34" charset="0"/>
              </a:endParaRPr>
            </a:p>
          </p:txBody>
        </p:sp>
        <p:sp>
          <p:nvSpPr>
            <p:cNvPr id="34" name="TextBox 33"/>
            <p:cNvSpPr txBox="1"/>
            <p:nvPr/>
          </p:nvSpPr>
          <p:spPr>
            <a:xfrm>
              <a:off x="7393356" y="2605143"/>
              <a:ext cx="806076" cy="544765"/>
            </a:xfrm>
            <a:prstGeom prst="rect">
              <a:avLst/>
            </a:prstGeom>
            <a:noFill/>
          </p:spPr>
          <p:txBody>
            <a:bodyPr wrap="square" lIns="182880" tIns="146304" rIns="182880" bIns="146304" rtlCol="0">
              <a:spAutoFit/>
            </a:bodyPr>
            <a:lstStyle/>
            <a:p>
              <a:pPr algn="ctr">
                <a:lnSpc>
                  <a:spcPct val="90000"/>
                </a:lnSpc>
                <a:spcAft>
                  <a:spcPts val="600"/>
                </a:spcAft>
              </a:pPr>
              <a:r>
                <a:rPr lang="en-US" dirty="0">
                  <a:solidFill>
                    <a:schemeClr val="tx2"/>
                  </a:solidFill>
                </a:rPr>
                <a:t>Salt</a:t>
              </a:r>
            </a:p>
          </p:txBody>
        </p:sp>
        <p:cxnSp>
          <p:nvCxnSpPr>
            <p:cNvPr id="37" name="Straight Arrow Connector 36"/>
            <p:cNvCxnSpPr/>
            <p:nvPr/>
          </p:nvCxnSpPr>
          <p:spPr>
            <a:xfrm flipV="1">
              <a:off x="8071775" y="2616043"/>
              <a:ext cx="497469" cy="213322"/>
            </a:xfrm>
            <a:prstGeom prst="straightConnector1">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6384" name="Group 16383"/>
          <p:cNvGrpSpPr/>
          <p:nvPr/>
        </p:nvGrpSpPr>
        <p:grpSpPr>
          <a:xfrm>
            <a:off x="650766" y="4630835"/>
            <a:ext cx="11215949" cy="1736087"/>
            <a:chOff x="650766" y="4630835"/>
            <a:chExt cx="11215949" cy="1736087"/>
          </a:xfrm>
        </p:grpSpPr>
        <p:sp>
          <p:nvSpPr>
            <p:cNvPr id="33" name="Rounded Rectangle 32"/>
            <p:cNvSpPr/>
            <p:nvPr/>
          </p:nvSpPr>
          <p:spPr bwMode="auto">
            <a:xfrm>
              <a:off x="650767" y="4726085"/>
              <a:ext cx="2739725" cy="717032"/>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User Password:</a:t>
              </a:r>
            </a:p>
            <a:p>
              <a:pPr algn="ctr" defTabSz="932472" fontAlgn="base">
                <a:lnSpc>
                  <a:spcPct val="90000"/>
                </a:lnSpc>
                <a:spcBef>
                  <a:spcPct val="0"/>
                </a:spcBef>
                <a:spcAft>
                  <a:spcPct val="0"/>
                </a:spcAft>
              </a:pPr>
              <a:r>
                <a:rPr lang="en-US" sz="2000" b="1" dirty="0">
                  <a:gradFill>
                    <a:gsLst>
                      <a:gs pos="0">
                        <a:srgbClr val="FFFFFF"/>
                      </a:gs>
                      <a:gs pos="100000">
                        <a:srgbClr val="FFFFFF"/>
                      </a:gs>
                    </a:gsLst>
                    <a:lin ang="5400000" scaled="0"/>
                  </a:gradFill>
                  <a:ea typeface="Segoe UI" pitchFamily="34" charset="0"/>
                  <a:cs typeface="Segoe UI" pitchFamily="34" charset="0"/>
                </a:rPr>
                <a:t>“happy”</a:t>
              </a:r>
            </a:p>
          </p:txBody>
        </p:sp>
        <p:sp>
          <p:nvSpPr>
            <p:cNvPr id="38" name="Rounded Rectangle 37"/>
            <p:cNvSpPr/>
            <p:nvPr/>
          </p:nvSpPr>
          <p:spPr bwMode="auto">
            <a:xfrm>
              <a:off x="650766" y="5649890"/>
              <a:ext cx="2739725" cy="717032"/>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bg1"/>
                  </a:solidFill>
                  <a:ea typeface="Segoe UI" pitchFamily="34" charset="0"/>
                  <a:cs typeface="Segoe UI" pitchFamily="34" charset="0"/>
                </a:rPr>
                <a:t>Salt:</a:t>
              </a:r>
            </a:p>
            <a:p>
              <a:pPr algn="ctr" defTabSz="932472" fontAlgn="base">
                <a:lnSpc>
                  <a:spcPct val="90000"/>
                </a:lnSpc>
                <a:spcBef>
                  <a:spcPct val="0"/>
                </a:spcBef>
                <a:spcAft>
                  <a:spcPct val="0"/>
                </a:spcAft>
              </a:pPr>
              <a:r>
                <a:rPr lang="en-US" sz="2000" b="1" dirty="0">
                  <a:solidFill>
                    <a:schemeClr val="bg1"/>
                  </a:solidFill>
                </a:rPr>
                <a:t>QxLUF1bgIAdeQX</a:t>
              </a:r>
              <a:endParaRPr lang="en-US" sz="2000" b="1" dirty="0">
                <a:solidFill>
                  <a:schemeClr val="bg1"/>
                </a:solidFill>
                <a:ea typeface="Segoe UI" pitchFamily="34" charset="0"/>
                <a:cs typeface="Segoe UI" pitchFamily="34" charset="0"/>
              </a:endParaRPr>
            </a:p>
          </p:txBody>
        </p:sp>
        <p:grpSp>
          <p:nvGrpSpPr>
            <p:cNvPr id="49" name="Group 48"/>
            <p:cNvGrpSpPr/>
            <p:nvPr/>
          </p:nvGrpSpPr>
          <p:grpSpPr>
            <a:xfrm>
              <a:off x="5264708" y="4630835"/>
              <a:ext cx="1664904" cy="1503752"/>
              <a:chOff x="4964496" y="4210548"/>
              <a:chExt cx="2342566" cy="2208804"/>
            </a:xfrm>
          </p:grpSpPr>
          <p:grpSp>
            <p:nvGrpSpPr>
              <p:cNvPr id="43" name="Group 42"/>
              <p:cNvGrpSpPr/>
              <p:nvPr/>
            </p:nvGrpSpPr>
            <p:grpSpPr>
              <a:xfrm>
                <a:off x="4964496" y="4210548"/>
                <a:ext cx="2342566" cy="2208804"/>
                <a:chOff x="4964496" y="4210548"/>
                <a:chExt cx="2342566" cy="2208804"/>
              </a:xfrm>
              <a:solidFill>
                <a:schemeClr val="bg1">
                  <a:lumMod val="85000"/>
                </a:schemeClr>
              </a:solidFill>
            </p:grpSpPr>
            <p:sp>
              <p:nvSpPr>
                <p:cNvPr id="44" name="Freeform 43"/>
                <p:cNvSpPr>
                  <a:spLocks noChangeAspect="1"/>
                </p:cNvSpPr>
                <p:nvPr/>
              </p:nvSpPr>
              <p:spPr bwMode="black">
                <a:xfrm>
                  <a:off x="4964496" y="4210548"/>
                  <a:ext cx="1139489" cy="1104402"/>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44"/>
                <p:cNvSpPr>
                  <a:spLocks noChangeAspect="1"/>
                </p:cNvSpPr>
                <p:nvPr/>
              </p:nvSpPr>
              <p:spPr bwMode="black">
                <a:xfrm>
                  <a:off x="6167573" y="4210548"/>
                  <a:ext cx="1139489" cy="1104402"/>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45"/>
                <p:cNvSpPr>
                  <a:spLocks noChangeAspect="1"/>
                </p:cNvSpPr>
                <p:nvPr/>
              </p:nvSpPr>
              <p:spPr bwMode="black">
                <a:xfrm>
                  <a:off x="4964496" y="5314950"/>
                  <a:ext cx="1139489" cy="1104402"/>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7" name="Freeform 46"/>
                <p:cNvSpPr>
                  <a:spLocks noChangeAspect="1"/>
                </p:cNvSpPr>
                <p:nvPr/>
              </p:nvSpPr>
              <p:spPr bwMode="black">
                <a:xfrm>
                  <a:off x="6167572" y="5314950"/>
                  <a:ext cx="1139489" cy="1104402"/>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8" name="Freeform 138"/>
              <p:cNvSpPr>
                <a:spLocks noChangeAspect="1" noEditPoints="1"/>
              </p:cNvSpPr>
              <p:nvPr/>
            </p:nvSpPr>
            <p:spPr bwMode="black">
              <a:xfrm>
                <a:off x="5372779" y="4543730"/>
                <a:ext cx="1462411" cy="1821081"/>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2"/>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sp>
          <p:nvSpPr>
            <p:cNvPr id="50" name="Rounded Rectangle 49"/>
            <p:cNvSpPr/>
            <p:nvPr/>
          </p:nvSpPr>
          <p:spPr bwMode="auto">
            <a:xfrm>
              <a:off x="8519938" y="4726086"/>
              <a:ext cx="3346777" cy="1640836"/>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Hash Value</a:t>
              </a:r>
            </a:p>
            <a:p>
              <a:pPr algn="ctr" defTabSz="932472" fontAlgn="base">
                <a:lnSpc>
                  <a:spcPct val="90000"/>
                </a:lnSpc>
                <a:spcBef>
                  <a:spcPct val="0"/>
                </a:spcBef>
                <a:spcAft>
                  <a:spcPct val="0"/>
                </a:spcAft>
              </a:pPr>
              <a:endParaRPr lang="en-US" altLang="en-US" sz="1050" dirty="0"/>
            </a:p>
            <a:p>
              <a:pPr algn="ctr" defTabSz="932472" fontAlgn="base">
                <a:lnSpc>
                  <a:spcPct val="90000"/>
                </a:lnSpc>
                <a:spcBef>
                  <a:spcPct val="0"/>
                </a:spcBef>
                <a:spcAft>
                  <a:spcPct val="0"/>
                </a:spcAft>
              </a:pPr>
              <a:r>
                <a:rPr lang="en-US" altLang="en-US" dirty="0"/>
                <a:t>9e209040c863f84a31e719795b2577523954739fe5ed3b58a75cff2127075ed1</a:t>
              </a:r>
              <a:endParaRPr lang="en-US" dirty="0">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Arrow Connector 53"/>
            <p:cNvCxnSpPr>
              <a:stCxn id="33" idx="3"/>
            </p:cNvCxnSpPr>
            <p:nvPr/>
          </p:nvCxnSpPr>
          <p:spPr>
            <a:xfrm>
              <a:off x="3390492" y="5084601"/>
              <a:ext cx="1566692" cy="298110"/>
            </a:xfrm>
            <a:prstGeom prst="straightConnector1">
              <a:avLst/>
            </a:prstGeom>
            <a:ln w="76200">
              <a:solidFill>
                <a:schemeClr val="tx1">
                  <a:lumMod val="40000"/>
                  <a:lumOff val="6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38" idx="3"/>
            </p:cNvCxnSpPr>
            <p:nvPr/>
          </p:nvCxnSpPr>
          <p:spPr>
            <a:xfrm flipV="1">
              <a:off x="3390491" y="5594489"/>
              <a:ext cx="1566693" cy="413917"/>
            </a:xfrm>
            <a:prstGeom prst="straightConnector1">
              <a:avLst/>
            </a:prstGeom>
            <a:ln w="76200">
              <a:solidFill>
                <a:schemeClr val="tx1">
                  <a:lumMod val="40000"/>
                  <a:lumOff val="6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V="1">
              <a:off x="6929612" y="5349794"/>
              <a:ext cx="1403592" cy="32917"/>
            </a:xfrm>
            <a:prstGeom prst="straightConnector1">
              <a:avLst/>
            </a:prstGeom>
            <a:ln w="76200">
              <a:solidFill>
                <a:schemeClr val="tx1">
                  <a:lumMod val="40000"/>
                  <a:lumOff val="6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6" name="TextBox 35"/>
          <p:cNvSpPr txBox="1"/>
          <p:nvPr/>
        </p:nvSpPr>
        <p:spPr>
          <a:xfrm>
            <a:off x="269240" y="871494"/>
            <a:ext cx="1133348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Salting a password adds an additional layer of protection </a:t>
            </a:r>
          </a:p>
        </p:txBody>
      </p:sp>
      <p:sp>
        <p:nvSpPr>
          <p:cNvPr id="16391" name="TextBox 16390"/>
          <p:cNvSpPr txBox="1"/>
          <p:nvPr/>
        </p:nvSpPr>
        <p:spPr>
          <a:xfrm>
            <a:off x="5264708" y="6057798"/>
            <a:ext cx="1664903" cy="794064"/>
          </a:xfrm>
          <a:prstGeom prst="rect">
            <a:avLst/>
          </a:prstGeom>
          <a:noFill/>
        </p:spPr>
        <p:txBody>
          <a:bodyPr wrap="square" lIns="182880" tIns="146304" rIns="182880" bIns="146304" rtlCol="0">
            <a:spAutoFit/>
          </a:bodyPr>
          <a:lstStyle/>
          <a:p>
            <a:pPr algn="ctr">
              <a:lnSpc>
                <a:spcPct val="90000"/>
              </a:lnSpc>
              <a:spcAft>
                <a:spcPts val="600"/>
              </a:spcAft>
            </a:pPr>
            <a:r>
              <a:rPr lang="en-US" dirty="0">
                <a:gradFill>
                  <a:gsLst>
                    <a:gs pos="2917">
                      <a:schemeClr val="tx1"/>
                    </a:gs>
                    <a:gs pos="30000">
                      <a:schemeClr val="tx1"/>
                    </a:gs>
                  </a:gsLst>
                  <a:lin ang="5400000" scaled="0"/>
                </a:gradFill>
              </a:rPr>
              <a:t>Hash Algorithm</a:t>
            </a:r>
          </a:p>
        </p:txBody>
      </p:sp>
      <p:cxnSp>
        <p:nvCxnSpPr>
          <p:cNvPr id="16393" name="Straight Connector 16392"/>
          <p:cNvCxnSpPr/>
          <p:nvPr/>
        </p:nvCxnSpPr>
        <p:spPr>
          <a:xfrm>
            <a:off x="353473" y="4381500"/>
            <a:ext cx="11469107"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05769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488940" y="2043072"/>
            <a:ext cx="6113779" cy="3484031"/>
          </a:xfrm>
        </p:spPr>
        <p:txBody>
          <a:bodyPr/>
          <a:lstStyle/>
          <a:p>
            <a:pPr>
              <a:spcBef>
                <a:spcPts val="1200"/>
              </a:spcBef>
              <a:buFont typeface="Wingdings" panose="05000000000000000000" pitchFamily="2" charset="2"/>
              <a:buChar char="§"/>
            </a:pPr>
            <a:r>
              <a:rPr lang="en-US" sz="2400" dirty="0"/>
              <a:t>Salting a hash helps but today’s graphics cards (GPUs) and custom hardware can compute billions of hashes per second.</a:t>
            </a:r>
          </a:p>
          <a:p>
            <a:pPr>
              <a:spcBef>
                <a:spcPts val="1200"/>
              </a:spcBef>
              <a:buFont typeface="Wingdings" panose="05000000000000000000" pitchFamily="2" charset="2"/>
              <a:buChar char="§"/>
            </a:pPr>
            <a:r>
              <a:rPr lang="en-US" sz="2400" dirty="0"/>
              <a:t>Key Stretching is one technique to slow down the hashing function. </a:t>
            </a:r>
          </a:p>
          <a:p>
            <a:pPr>
              <a:spcBef>
                <a:spcPts val="1200"/>
              </a:spcBef>
              <a:buFont typeface="Wingdings" panose="05000000000000000000" pitchFamily="2" charset="2"/>
              <a:buChar char="§"/>
            </a:pPr>
            <a:r>
              <a:rPr lang="en-US" sz="2400" dirty="0"/>
              <a:t>Key Stretching is typically implemented using special types of CPU-intensive hash functions which have no known optimization.  </a:t>
            </a:r>
          </a:p>
        </p:txBody>
      </p:sp>
      <p:sp>
        <p:nvSpPr>
          <p:cNvPr id="5" name="Title 2"/>
          <p:cNvSpPr txBox="1">
            <a:spLocks/>
          </p:cNvSpPr>
          <p:nvPr/>
        </p:nvSpPr>
        <p:spPr>
          <a:xfrm>
            <a:off x="269240" y="3276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dirty="0"/>
              <a:t>Countermeasure #2: Key Stretching</a:t>
            </a:r>
          </a:p>
        </p:txBody>
      </p:sp>
      <p:sp>
        <p:nvSpPr>
          <p:cNvPr id="6" name="Freeform 113"/>
          <p:cNvSpPr>
            <a:spLocks noChangeAspect="1" noEditPoints="1"/>
          </p:cNvSpPr>
          <p:nvPr/>
        </p:nvSpPr>
        <p:spPr bwMode="black">
          <a:xfrm>
            <a:off x="706091" y="1978961"/>
            <a:ext cx="3944650" cy="3944650"/>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2"/>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cxnSp>
        <p:nvCxnSpPr>
          <p:cNvPr id="9" name="Straight Connector 8"/>
          <p:cNvCxnSpPr/>
          <p:nvPr/>
        </p:nvCxnSpPr>
        <p:spPr>
          <a:xfrm>
            <a:off x="0" y="6403216"/>
            <a:ext cx="12192000" cy="0"/>
          </a:xfrm>
          <a:prstGeom prst="line">
            <a:avLst/>
          </a:prstGeom>
          <a:ln w="28575">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269240" y="966744"/>
            <a:ext cx="1133348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Slowing down the hashing function makes brute force method more time consuming</a:t>
            </a:r>
          </a:p>
        </p:txBody>
      </p:sp>
      <p:sp>
        <p:nvSpPr>
          <p:cNvPr id="13" name="Rectangle 12"/>
          <p:cNvSpPr/>
          <p:nvPr/>
        </p:nvSpPr>
        <p:spPr bwMode="auto">
          <a:xfrm>
            <a:off x="0" y="6403216"/>
            <a:ext cx="12192000" cy="45478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8309484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0" y="-3"/>
            <a:ext cx="12194321" cy="6858003"/>
            <a:chOff x="0" y="-3"/>
            <a:chExt cx="12194321" cy="6858003"/>
          </a:xfrm>
        </p:grpSpPr>
        <p:pic>
          <p:nvPicPr>
            <p:cNvPr id="22532" name="Picture 4" descr="https://static.securityintelligence.com/uploads/2015/02/bankvaultcloseup_138052-900x535.jpg"/>
            <p:cNvPicPr>
              <a:picLocks noChangeAspect="1" noChangeArrowheads="1"/>
            </p:cNvPicPr>
            <p:nvPr/>
          </p:nvPicPr>
          <p:blipFill rotWithShape="1">
            <a:blip r:embed="rId3">
              <a:duotone>
                <a:prstClr val="black"/>
                <a:schemeClr val="bg1">
                  <a:lumMod val="95000"/>
                  <a:tint val="45000"/>
                  <a:satMod val="400000"/>
                </a:schemeClr>
              </a:duotone>
              <a:extLst>
                <a:ext uri="{28A0092B-C50C-407E-A947-70E740481C1C}">
                  <a14:useLocalDpi xmlns:a14="http://schemas.microsoft.com/office/drawing/2010/main" val="0"/>
                </a:ext>
              </a:extLst>
            </a:blip>
            <a:srcRect b="5374"/>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p:nvSpPr>
          <p:spPr bwMode="auto">
            <a:xfrm>
              <a:off x="0" y="-3"/>
              <a:ext cx="12194321" cy="1693891"/>
            </a:xfrm>
            <a:prstGeom prst="rect">
              <a:avLst/>
            </a:prstGeom>
            <a:gradFill flip="none" rotWithShape="1">
              <a:gsLst>
                <a:gs pos="100000">
                  <a:srgbClr val="171717">
                    <a:alpha val="72157"/>
                  </a:srgbClr>
                </a:gs>
                <a:gs pos="42000">
                  <a:srgbClr val="171717">
                    <a:alpha val="50196"/>
                  </a:srgbClr>
                </a:gs>
                <a:gs pos="0">
                  <a:srgbClr val="F0F8FF">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0"/>
            <p:cNvGrpSpPr/>
            <p:nvPr/>
          </p:nvGrpSpPr>
          <p:grpSpPr>
            <a:xfrm>
              <a:off x="0" y="3143888"/>
              <a:ext cx="12192000" cy="2162899"/>
              <a:chOff x="0" y="3143888"/>
              <a:chExt cx="12192000" cy="2162899"/>
            </a:xfrm>
          </p:grpSpPr>
          <p:sp>
            <p:nvSpPr>
              <p:cNvPr id="8" name="Rectangle 7"/>
              <p:cNvSpPr/>
              <p:nvPr/>
            </p:nvSpPr>
            <p:spPr bwMode="auto">
              <a:xfrm>
                <a:off x="0" y="3143888"/>
                <a:ext cx="2816860" cy="21628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Russian Carbanak Group pulls off biggest bank heist in history</a:t>
                </a:r>
              </a:p>
            </p:txBody>
          </p:sp>
          <p:sp>
            <p:nvSpPr>
              <p:cNvPr id="2" name="Rectangle 1"/>
              <p:cNvSpPr/>
              <p:nvPr/>
            </p:nvSpPr>
            <p:spPr bwMode="auto">
              <a:xfrm>
                <a:off x="2816860" y="3143888"/>
                <a:ext cx="9375140" cy="2162899"/>
              </a:xfrm>
              <a:prstGeom prst="rect">
                <a:avLst/>
              </a:prstGeom>
              <a:solidFill>
                <a:srgbClr val="FFFFFF">
                  <a:alpha val="3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p:cNvGrpSpPr/>
              <p:nvPr/>
            </p:nvGrpSpPr>
            <p:grpSpPr>
              <a:xfrm>
                <a:off x="7324813" y="3281232"/>
                <a:ext cx="4600267" cy="1888209"/>
                <a:chOff x="2904163" y="3312383"/>
                <a:chExt cx="4600267" cy="1888209"/>
              </a:xfrm>
            </p:grpSpPr>
            <p:sp>
              <p:nvSpPr>
                <p:cNvPr id="3" name="TextBox 2"/>
                <p:cNvSpPr txBox="1"/>
                <p:nvPr/>
              </p:nvSpPr>
              <p:spPr>
                <a:xfrm>
                  <a:off x="2904163" y="3312383"/>
                  <a:ext cx="3428999" cy="1888209"/>
                </a:xfrm>
                <a:prstGeom prst="rect">
                  <a:avLst/>
                </a:prstGeom>
                <a:noFill/>
              </p:spPr>
              <p:txBody>
                <a:bodyPr wrap="square" lIns="182880" tIns="146304" rIns="182880" bIns="146304" rtlCol="0">
                  <a:spAutoFit/>
                </a:bodyPr>
                <a:lstStyle/>
                <a:p>
                  <a:pPr algn="ctr" defTabSz="932472" fontAlgn="base">
                    <a:lnSpc>
                      <a:spcPct val="90000"/>
                    </a:lnSpc>
                    <a:spcBef>
                      <a:spcPct val="0"/>
                    </a:spcBef>
                    <a:spcAft>
                      <a:spcPct val="0"/>
                    </a:spcAft>
                  </a:pPr>
                  <a:r>
                    <a:rPr lang="en-US" sz="11500" b="1" dirty="0">
                      <a:gradFill>
                        <a:gsLst>
                          <a:gs pos="0">
                            <a:srgbClr val="FFFFFF"/>
                          </a:gs>
                          <a:gs pos="100000">
                            <a:srgbClr val="FFFFFF"/>
                          </a:gs>
                        </a:gsLst>
                        <a:lin ang="5400000" scaled="0"/>
                      </a:gradFill>
                      <a:ea typeface="Segoe UI" pitchFamily="34" charset="0"/>
                      <a:cs typeface="Segoe UI" pitchFamily="34" charset="0"/>
                    </a:rPr>
                    <a:t>$1B</a:t>
                  </a:r>
                  <a:endParaRPr lang="en-US" sz="6000" dirty="0">
                    <a:gradFill>
                      <a:gsLst>
                        <a:gs pos="2917">
                          <a:schemeClr val="tx1"/>
                        </a:gs>
                        <a:gs pos="30000">
                          <a:schemeClr val="tx1"/>
                        </a:gs>
                      </a:gsLst>
                      <a:lin ang="5400000" scaled="0"/>
                    </a:gradFill>
                  </a:endParaRPr>
                </a:p>
              </p:txBody>
            </p:sp>
            <p:sp>
              <p:nvSpPr>
                <p:cNvPr id="7" name="TextBox 6"/>
                <p:cNvSpPr txBox="1"/>
                <p:nvPr/>
              </p:nvSpPr>
              <p:spPr>
                <a:xfrm>
                  <a:off x="5791562" y="3662672"/>
                  <a:ext cx="1712868" cy="1071062"/>
                </a:xfrm>
                <a:prstGeom prst="rect">
                  <a:avLst/>
                </a:prstGeom>
                <a:noFill/>
              </p:spPr>
              <p:txBody>
                <a:bodyPr wrap="square" lIns="182880" tIns="146304" rIns="182880" bIns="146304" rtlCol="0">
                  <a:spAutoFit/>
                </a:bodyPr>
                <a:lstStyle/>
                <a:p>
                  <a:pPr algn="ctr" defTabSz="932472" fontAlgn="base">
                    <a:lnSpc>
                      <a:spcPct val="90000"/>
                    </a:lnSpc>
                    <a:spcBef>
                      <a:spcPct val="0"/>
                    </a:spcBef>
                    <a:spcAft>
                      <a:spcPct val="0"/>
                    </a:spcAft>
                  </a:pPr>
                  <a:r>
                    <a:rPr lang="en-US" sz="2800" b="1" dirty="0">
                      <a:gradFill>
                        <a:gsLst>
                          <a:gs pos="0">
                            <a:srgbClr val="FFFFFF"/>
                          </a:gs>
                          <a:gs pos="100000">
                            <a:srgbClr val="FFFFFF"/>
                          </a:gs>
                        </a:gsLst>
                        <a:lin ang="5400000" scaled="0"/>
                      </a:gradFill>
                      <a:ea typeface="Segoe UI" pitchFamily="34" charset="0"/>
                      <a:cs typeface="Segoe UI" pitchFamily="34" charset="0"/>
                    </a:rPr>
                    <a:t>USD stolen</a:t>
                  </a:r>
                  <a:endParaRPr lang="en-US" sz="2800" dirty="0">
                    <a:gradFill>
                      <a:gsLst>
                        <a:gs pos="2917">
                          <a:schemeClr val="tx1"/>
                        </a:gs>
                        <a:gs pos="30000">
                          <a:schemeClr val="tx1"/>
                        </a:gs>
                      </a:gsLst>
                      <a:lin ang="5400000" scaled="0"/>
                    </a:gradFill>
                  </a:endParaRPr>
                </a:p>
              </p:txBody>
            </p:sp>
          </p:grpSp>
        </p:grpSp>
      </p:grpSp>
    </p:spTree>
    <p:extLst>
      <p:ext uri="{BB962C8B-B14F-4D97-AF65-F5344CB8AC3E}">
        <p14:creationId xmlns:p14="http://schemas.microsoft.com/office/powerpoint/2010/main" val="360708571"/>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8762780" y="-965363"/>
            <a:ext cx="3524250" cy="3431336"/>
            <a:chOff x="8724900" y="-995616"/>
            <a:chExt cx="3524250" cy="3431336"/>
          </a:xfrm>
        </p:grpSpPr>
        <p:pic>
          <p:nvPicPr>
            <p:cNvPr id="17410" name="Picture 2" descr="https://upload.wikimedia.org/wikipedia/commons/thumb/9/96/Microsoft_logo_(2012).svg/2000px-Microsoft_logo_(2012).svg.png"/>
            <p:cNvPicPr>
              <a:picLocks noChangeAspect="1" noChangeArrowheads="1"/>
            </p:cNvPicPr>
            <p:nvPr/>
          </p:nvPicPr>
          <p:blipFill rotWithShape="1">
            <a:blip r:embed="rId3">
              <a:extLst>
                <a:ext uri="{28A0092B-C50C-407E-A947-70E740481C1C}">
                  <a14:useLocalDpi xmlns:a14="http://schemas.microsoft.com/office/drawing/2010/main" val="0"/>
                </a:ext>
              </a:extLst>
            </a:blip>
            <a:srcRect r="78072"/>
            <a:stretch/>
          </p:blipFill>
          <p:spPr bwMode="auto">
            <a:xfrm>
              <a:off x="8724900" y="-995616"/>
              <a:ext cx="3524250" cy="3431336"/>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p:cNvSpPr/>
            <p:nvPr/>
          </p:nvSpPr>
          <p:spPr bwMode="auto">
            <a:xfrm>
              <a:off x="8724900" y="-995616"/>
              <a:ext cx="3524250" cy="3431336"/>
            </a:xfrm>
            <a:prstGeom prst="rect">
              <a:avLst/>
            </a:prstGeom>
            <a:solidFill>
              <a:srgbClr val="FFFFFF">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5" name="Title 2"/>
          <p:cNvSpPr txBox="1">
            <a:spLocks/>
          </p:cNvSpPr>
          <p:nvPr/>
        </p:nvSpPr>
        <p:spPr>
          <a:xfrm>
            <a:off x="269240" y="3276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a:t>Countermeasures #3-5</a:t>
            </a:r>
            <a:endParaRPr lang="en-US" sz="4800" dirty="0"/>
          </a:p>
        </p:txBody>
      </p:sp>
      <p:sp>
        <p:nvSpPr>
          <p:cNvPr id="10" name="TextBox 9"/>
          <p:cNvSpPr txBox="1"/>
          <p:nvPr/>
        </p:nvSpPr>
        <p:spPr>
          <a:xfrm>
            <a:off x="269240" y="1004844"/>
            <a:ext cx="1178941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Microsoft products have several features that provide an extra level of password security</a:t>
            </a:r>
          </a:p>
        </p:txBody>
      </p:sp>
      <p:sp>
        <p:nvSpPr>
          <p:cNvPr id="3" name="Rectangle 2"/>
          <p:cNvSpPr/>
          <p:nvPr/>
        </p:nvSpPr>
        <p:spPr>
          <a:xfrm>
            <a:off x="945764" y="3187225"/>
            <a:ext cx="3177610" cy="2031325"/>
          </a:xfrm>
          <a:prstGeom prst="rect">
            <a:avLst/>
          </a:prstGeom>
        </p:spPr>
        <p:txBody>
          <a:bodyPr wrap="square">
            <a:spAutoFit/>
          </a:bodyPr>
          <a:lstStyle/>
          <a:p>
            <a:pPr defTabSz="914367">
              <a:lnSpc>
                <a:spcPct val="90000"/>
              </a:lnSpc>
              <a:spcBef>
                <a:spcPts val="1200"/>
              </a:spcBef>
              <a:buSzPct val="90000"/>
            </a:pPr>
            <a:r>
              <a:rPr lang="en-US" sz="2000" dirty="0">
                <a:gradFill>
                  <a:gsLst>
                    <a:gs pos="1250">
                      <a:schemeClr val="tx1"/>
                    </a:gs>
                    <a:gs pos="100000">
                      <a:schemeClr val="tx1"/>
                    </a:gs>
                  </a:gsLst>
                  <a:lin ang="5400000" scaled="0"/>
                </a:gradFill>
                <a:latin typeface="+mj-lt"/>
              </a:rPr>
              <a:t>Modern OSs such as Windows in enterprise environment have domain policies. A domain policy allows a central administrator to enforce custom password polices.</a:t>
            </a:r>
          </a:p>
        </p:txBody>
      </p:sp>
      <p:sp>
        <p:nvSpPr>
          <p:cNvPr id="7" name="Rectangle 6"/>
          <p:cNvSpPr/>
          <p:nvPr/>
        </p:nvSpPr>
        <p:spPr>
          <a:xfrm>
            <a:off x="4693092" y="3187224"/>
            <a:ext cx="3138895" cy="1631216"/>
          </a:xfrm>
          <a:prstGeom prst="rect">
            <a:avLst/>
          </a:prstGeom>
        </p:spPr>
        <p:txBody>
          <a:bodyPr wrap="square">
            <a:spAutoFit/>
          </a:bodyPr>
          <a:lstStyle/>
          <a:p>
            <a:r>
              <a:rPr lang="en-US" sz="2000" dirty="0">
                <a:gradFill>
                  <a:gsLst>
                    <a:gs pos="1250">
                      <a:schemeClr val="tx1"/>
                    </a:gs>
                    <a:gs pos="100000">
                      <a:schemeClr val="tx1"/>
                    </a:gs>
                  </a:gsLst>
                  <a:lin ang="5400000" scaled="0"/>
                </a:gradFill>
                <a:latin typeface="+mj-lt"/>
              </a:rPr>
              <a:t>Modern OSs such as Windows offers disk based encryption. </a:t>
            </a:r>
            <a:r>
              <a:rPr lang="en-US" sz="2000" dirty="0" err="1">
                <a:gradFill>
                  <a:gsLst>
                    <a:gs pos="1250">
                      <a:schemeClr val="tx1"/>
                    </a:gs>
                    <a:gs pos="100000">
                      <a:schemeClr val="tx1"/>
                    </a:gs>
                  </a:gsLst>
                  <a:lin ang="5400000" scaled="0"/>
                </a:gradFill>
                <a:latin typeface="+mj-lt"/>
              </a:rPr>
              <a:t>Bitlocker’s</a:t>
            </a:r>
            <a:r>
              <a:rPr lang="en-US" sz="2000" dirty="0">
                <a:gradFill>
                  <a:gsLst>
                    <a:gs pos="1250">
                      <a:schemeClr val="tx1"/>
                    </a:gs>
                    <a:gs pos="100000">
                      <a:schemeClr val="tx1"/>
                    </a:gs>
                  </a:gsLst>
                  <a:lin ang="5400000" scaled="0"/>
                </a:gradFill>
                <a:latin typeface="+mj-lt"/>
              </a:rPr>
              <a:t> full disk encryption helps prevent off-line attacks. </a:t>
            </a:r>
          </a:p>
        </p:txBody>
      </p:sp>
      <p:sp>
        <p:nvSpPr>
          <p:cNvPr id="8" name="Rectangle 7"/>
          <p:cNvSpPr/>
          <p:nvPr/>
        </p:nvSpPr>
        <p:spPr>
          <a:xfrm>
            <a:off x="8402320" y="3187224"/>
            <a:ext cx="3846610" cy="1323439"/>
          </a:xfrm>
          <a:prstGeom prst="rect">
            <a:avLst/>
          </a:prstGeom>
        </p:spPr>
        <p:txBody>
          <a:bodyPr wrap="square">
            <a:spAutoFit/>
          </a:bodyPr>
          <a:lstStyle/>
          <a:p>
            <a:r>
              <a:rPr lang="en-US" sz="2000" dirty="0">
                <a:gradFill>
                  <a:gsLst>
                    <a:gs pos="1250">
                      <a:schemeClr val="tx1"/>
                    </a:gs>
                    <a:gs pos="100000">
                      <a:schemeClr val="tx1"/>
                    </a:gs>
                  </a:gsLst>
                  <a:lin ang="5400000" scaled="0"/>
                </a:gradFill>
                <a:latin typeface="+mj-lt"/>
              </a:rPr>
              <a:t>Multi-Factor Authentication (MFA) requires multiple levels of security. Windows Hello is an excellent example of modern MFA.</a:t>
            </a:r>
          </a:p>
        </p:txBody>
      </p:sp>
      <p:sp>
        <p:nvSpPr>
          <p:cNvPr id="11" name="Freeform 10"/>
          <p:cNvSpPr>
            <a:spLocks noChangeAspect="1"/>
          </p:cNvSpPr>
          <p:nvPr/>
        </p:nvSpPr>
        <p:spPr bwMode="black">
          <a:xfrm>
            <a:off x="8120378" y="3225631"/>
            <a:ext cx="263033" cy="458359"/>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2" name="Freeform 11"/>
          <p:cNvSpPr>
            <a:spLocks noChangeAspect="1"/>
          </p:cNvSpPr>
          <p:nvPr/>
        </p:nvSpPr>
        <p:spPr bwMode="black">
          <a:xfrm>
            <a:off x="4338973" y="3225631"/>
            <a:ext cx="392834" cy="446063"/>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911" tIns="75929" rIns="94911" bIns="75929" numCol="1" spcCol="0" rtlCol="0" fromWordArt="0" anchor="t" anchorCtr="0" forceAA="0" compatLnSpc="1">
            <a:prstTxWarp prst="textNoShape">
              <a:avLst/>
            </a:prstTxWarp>
            <a:noAutofit/>
          </a:bodyPr>
          <a:lstStyle/>
          <a:p>
            <a:pPr algn="ctr" defTabSz="483924" fontAlgn="base">
              <a:lnSpc>
                <a:spcPct val="90000"/>
              </a:lnSpc>
              <a:spcBef>
                <a:spcPct val="0"/>
              </a:spcBef>
              <a:spcAft>
                <a:spcPct val="0"/>
              </a:spcAft>
            </a:pPr>
            <a:endParaRPr lang="en-US" sz="1246" dirty="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4"/>
          <p:cNvSpPr>
            <a:spLocks noChangeAspect="1" noEditPoints="1"/>
          </p:cNvSpPr>
          <p:nvPr/>
        </p:nvSpPr>
        <p:spPr bwMode="black">
          <a:xfrm>
            <a:off x="460523" y="3225631"/>
            <a:ext cx="457200" cy="457200"/>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290856" y="2609202"/>
            <a:ext cx="3082777"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3 Domain Policies</a:t>
            </a:r>
          </a:p>
        </p:txBody>
      </p:sp>
      <p:sp>
        <p:nvSpPr>
          <p:cNvPr id="15" name="TextBox 14"/>
          <p:cNvSpPr txBox="1"/>
          <p:nvPr/>
        </p:nvSpPr>
        <p:spPr>
          <a:xfrm>
            <a:off x="4084659" y="2609202"/>
            <a:ext cx="3082777"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Disk Encryption</a:t>
            </a:r>
          </a:p>
        </p:txBody>
      </p:sp>
      <p:sp>
        <p:nvSpPr>
          <p:cNvPr id="16" name="TextBox 15"/>
          <p:cNvSpPr txBox="1"/>
          <p:nvPr/>
        </p:nvSpPr>
        <p:spPr>
          <a:xfrm>
            <a:off x="7730214" y="2609202"/>
            <a:ext cx="451893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5 Multi-Factor Authentication</a:t>
            </a:r>
          </a:p>
        </p:txBody>
      </p:sp>
      <p:cxnSp>
        <p:nvCxnSpPr>
          <p:cNvPr id="18" name="Straight Connector 17"/>
          <p:cNvCxnSpPr/>
          <p:nvPr/>
        </p:nvCxnSpPr>
        <p:spPr>
          <a:xfrm>
            <a:off x="4084659" y="3237066"/>
            <a:ext cx="0" cy="3017520"/>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7882614" y="3237066"/>
            <a:ext cx="0" cy="3017520"/>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4"/>
          <a:stretch>
            <a:fillRect/>
          </a:stretch>
        </p:blipFill>
        <p:spPr>
          <a:xfrm>
            <a:off x="4623844" y="5181494"/>
            <a:ext cx="2638425" cy="997009"/>
          </a:xfrm>
          <a:prstGeom prst="rect">
            <a:avLst/>
          </a:prstGeom>
        </p:spPr>
      </p:pic>
      <p:grpSp>
        <p:nvGrpSpPr>
          <p:cNvPr id="6" name="Group 5"/>
          <p:cNvGrpSpPr/>
          <p:nvPr/>
        </p:nvGrpSpPr>
        <p:grpSpPr>
          <a:xfrm>
            <a:off x="8205156" y="5161340"/>
            <a:ext cx="3806756" cy="1017163"/>
            <a:chOff x="8251894" y="4659737"/>
            <a:chExt cx="4130606" cy="1055264"/>
          </a:xfrm>
        </p:grpSpPr>
        <p:pic>
          <p:nvPicPr>
            <p:cNvPr id="23" name="Picture 22"/>
            <p:cNvPicPr>
              <a:picLocks noChangeAspect="1"/>
            </p:cNvPicPr>
            <p:nvPr/>
          </p:nvPicPr>
          <p:blipFill rotWithShape="1">
            <a:blip r:embed="rId5"/>
            <a:srcRect t="50606" r="22943" b="35575"/>
            <a:stretch/>
          </p:blipFill>
          <p:spPr>
            <a:xfrm rot="10800000">
              <a:off x="10584820" y="5448299"/>
              <a:ext cx="1797679" cy="266701"/>
            </a:xfrm>
            <a:prstGeom prst="rect">
              <a:avLst/>
            </a:prstGeom>
          </p:spPr>
        </p:pic>
        <p:pic>
          <p:nvPicPr>
            <p:cNvPr id="4" name="Picture 3"/>
            <p:cNvPicPr>
              <a:picLocks noChangeAspect="1"/>
            </p:cNvPicPr>
            <p:nvPr/>
          </p:nvPicPr>
          <p:blipFill rotWithShape="1">
            <a:blip r:embed="rId5"/>
            <a:srcRect b="45322"/>
            <a:stretch/>
          </p:blipFill>
          <p:spPr>
            <a:xfrm>
              <a:off x="8251894" y="4659737"/>
              <a:ext cx="2332927" cy="1055264"/>
            </a:xfrm>
            <a:prstGeom prst="rect">
              <a:avLst/>
            </a:prstGeom>
          </p:spPr>
        </p:pic>
        <p:pic>
          <p:nvPicPr>
            <p:cNvPr id="22" name="Picture 21"/>
            <p:cNvPicPr>
              <a:picLocks noChangeAspect="1"/>
            </p:cNvPicPr>
            <p:nvPr/>
          </p:nvPicPr>
          <p:blipFill rotWithShape="1">
            <a:blip r:embed="rId5"/>
            <a:srcRect t="50606" r="22943"/>
            <a:stretch/>
          </p:blipFill>
          <p:spPr>
            <a:xfrm>
              <a:off x="10584821" y="4672689"/>
              <a:ext cx="1797679" cy="953279"/>
            </a:xfrm>
            <a:prstGeom prst="rect">
              <a:avLst/>
            </a:prstGeom>
          </p:spPr>
        </p:pic>
      </p:grpSp>
      <p:pic>
        <p:nvPicPr>
          <p:cNvPr id="9" name="Picture 2" descr="http://www.edwinmsarmiento.com/wp-content/uploads/2016/01/activedirectory.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8599" y="4871122"/>
            <a:ext cx="3425825" cy="1617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879299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untermeasures </a:t>
            </a:r>
            <a:r>
              <a:rPr lang="en-US" sz="6000" dirty="0"/>
              <a:t>(countering the hack)</a:t>
            </a:r>
          </a:p>
        </p:txBody>
      </p:sp>
    </p:spTree>
    <p:extLst>
      <p:ext uri="{BB962C8B-B14F-4D97-AF65-F5344CB8AC3E}">
        <p14:creationId xmlns:p14="http://schemas.microsoft.com/office/powerpoint/2010/main" val="325332580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267209"/>
            <a:ext cx="11567160" cy="899665"/>
          </a:xfrm>
        </p:spPr>
        <p:txBody>
          <a:bodyPr/>
          <a:lstStyle/>
          <a:p>
            <a:r>
              <a:rPr lang="en-US" sz="4800" dirty="0"/>
              <a:t>How do we best protect ourselves?</a:t>
            </a:r>
          </a:p>
        </p:txBody>
      </p:sp>
      <p:sp>
        <p:nvSpPr>
          <p:cNvPr id="13" name="TextBox 12"/>
          <p:cNvSpPr txBox="1"/>
          <p:nvPr/>
        </p:nvSpPr>
        <p:spPr>
          <a:xfrm>
            <a:off x="2158636" y="7869100"/>
            <a:ext cx="4177212" cy="1369606"/>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Do we need firewalls? Blocking </a:t>
            </a:r>
            <a:r>
              <a:rPr lang="en-US" sz="2400" dirty="0" err="1">
                <a:gradFill>
                  <a:gsLst>
                    <a:gs pos="2917">
                      <a:schemeClr val="tx1"/>
                    </a:gs>
                    <a:gs pos="30000">
                      <a:schemeClr val="tx1"/>
                    </a:gs>
                  </a:gsLst>
                  <a:lin ang="5400000" scaled="0"/>
                </a:gradFill>
              </a:rPr>
              <a:t>ip</a:t>
            </a:r>
            <a:r>
              <a:rPr lang="en-US" sz="2400" dirty="0">
                <a:gradFill>
                  <a:gsLst>
                    <a:gs pos="2917">
                      <a:schemeClr val="tx1"/>
                    </a:gs>
                    <a:gs pos="30000">
                      <a:schemeClr val="tx1"/>
                    </a:gs>
                  </a:gsLst>
                  <a:lin ang="5400000" scaled="0"/>
                </a:gradFill>
              </a:rPr>
              <a:t> from countries</a:t>
            </a:r>
          </a:p>
          <a:p>
            <a:pPr>
              <a:lnSpc>
                <a:spcPct val="90000"/>
              </a:lnSpc>
              <a:spcAft>
                <a:spcPts val="600"/>
              </a:spcAft>
            </a:pPr>
            <a:endParaRPr lang="en-US" sz="2400" dirty="0">
              <a:gradFill>
                <a:gsLst>
                  <a:gs pos="2917">
                    <a:schemeClr val="tx1"/>
                  </a:gs>
                  <a:gs pos="30000">
                    <a:schemeClr val="tx1"/>
                  </a:gs>
                </a:gsLst>
                <a:lin ang="5400000" scaled="0"/>
              </a:gradFill>
            </a:endParaRPr>
          </a:p>
        </p:txBody>
      </p:sp>
      <p:grpSp>
        <p:nvGrpSpPr>
          <p:cNvPr id="16" name="Group 15"/>
          <p:cNvGrpSpPr/>
          <p:nvPr/>
        </p:nvGrpSpPr>
        <p:grpSpPr>
          <a:xfrm>
            <a:off x="4361538" y="1523997"/>
            <a:ext cx="3608615" cy="2122716"/>
            <a:chOff x="638627" y="1453242"/>
            <a:chExt cx="3608615" cy="2122716"/>
          </a:xfrm>
        </p:grpSpPr>
        <p:sp>
          <p:nvSpPr>
            <p:cNvPr id="8" name="Rounded Rectangle 7"/>
            <p:cNvSpPr/>
            <p:nvPr/>
          </p:nvSpPr>
          <p:spPr bwMode="auto">
            <a:xfrm>
              <a:off x="638627" y="1453242"/>
              <a:ext cx="3608615" cy="80010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Data Governance Policy</a:t>
              </a:r>
            </a:p>
          </p:txBody>
        </p:sp>
        <p:sp>
          <p:nvSpPr>
            <p:cNvPr id="15" name="Rectangle 14"/>
            <p:cNvSpPr/>
            <p:nvPr/>
          </p:nvSpPr>
          <p:spPr bwMode="auto">
            <a:xfrm>
              <a:off x="638627" y="2041073"/>
              <a:ext cx="3608615" cy="153488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 name="Group 16"/>
          <p:cNvGrpSpPr/>
          <p:nvPr/>
        </p:nvGrpSpPr>
        <p:grpSpPr>
          <a:xfrm>
            <a:off x="448124" y="1523997"/>
            <a:ext cx="3608615" cy="2122716"/>
            <a:chOff x="638627" y="1453242"/>
            <a:chExt cx="3608615" cy="2122716"/>
          </a:xfrm>
        </p:grpSpPr>
        <p:sp>
          <p:nvSpPr>
            <p:cNvPr id="18" name="Rounded Rectangle 17"/>
            <p:cNvSpPr/>
            <p:nvPr/>
          </p:nvSpPr>
          <p:spPr bwMode="auto">
            <a:xfrm>
              <a:off x="638627" y="1453242"/>
              <a:ext cx="3608615" cy="80010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Risk Assessment</a:t>
              </a:r>
            </a:p>
          </p:txBody>
        </p:sp>
        <p:sp>
          <p:nvSpPr>
            <p:cNvPr id="19" name="Rectangle 18"/>
            <p:cNvSpPr/>
            <p:nvPr/>
          </p:nvSpPr>
          <p:spPr bwMode="auto">
            <a:xfrm>
              <a:off x="638627" y="2041073"/>
              <a:ext cx="3608615" cy="153488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p:cNvGrpSpPr/>
          <p:nvPr/>
        </p:nvGrpSpPr>
        <p:grpSpPr>
          <a:xfrm>
            <a:off x="8274952" y="1523997"/>
            <a:ext cx="3608615" cy="2122716"/>
            <a:chOff x="638627" y="1453242"/>
            <a:chExt cx="3608615" cy="2122716"/>
          </a:xfrm>
        </p:grpSpPr>
        <p:sp>
          <p:nvSpPr>
            <p:cNvPr id="24" name="Rounded Rectangle 23"/>
            <p:cNvSpPr/>
            <p:nvPr/>
          </p:nvSpPr>
          <p:spPr bwMode="auto">
            <a:xfrm>
              <a:off x="638627" y="1453242"/>
              <a:ext cx="3608615" cy="80010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Audits</a:t>
              </a:r>
            </a:p>
          </p:txBody>
        </p:sp>
        <p:sp>
          <p:nvSpPr>
            <p:cNvPr id="25" name="Rectangle 24"/>
            <p:cNvSpPr/>
            <p:nvPr/>
          </p:nvSpPr>
          <p:spPr bwMode="auto">
            <a:xfrm>
              <a:off x="638627" y="2041073"/>
              <a:ext cx="3608615" cy="153488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6" name="TextBox 25"/>
          <p:cNvSpPr txBox="1"/>
          <p:nvPr/>
        </p:nvSpPr>
        <p:spPr>
          <a:xfrm>
            <a:off x="448124" y="2117267"/>
            <a:ext cx="3608615" cy="1203406"/>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rPr>
              <a:t>What services are high risk?</a:t>
            </a:r>
          </a:p>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rPr>
              <a:t>Is there PII in the data?</a:t>
            </a:r>
          </a:p>
        </p:txBody>
      </p:sp>
      <p:sp>
        <p:nvSpPr>
          <p:cNvPr id="27" name="TextBox 26"/>
          <p:cNvSpPr txBox="1"/>
          <p:nvPr/>
        </p:nvSpPr>
        <p:spPr>
          <a:xfrm>
            <a:off x="4361538" y="2057216"/>
            <a:ext cx="3608615" cy="1480405"/>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rPr>
              <a:t>What data should be considered sensitive?</a:t>
            </a:r>
          </a:p>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rPr>
              <a:t>Any data that is critical to business function?</a:t>
            </a:r>
          </a:p>
        </p:txBody>
      </p:sp>
      <p:sp>
        <p:nvSpPr>
          <p:cNvPr id="28" name="TextBox 27"/>
          <p:cNvSpPr txBox="1"/>
          <p:nvPr/>
        </p:nvSpPr>
        <p:spPr>
          <a:xfrm>
            <a:off x="8274952" y="2057216"/>
            <a:ext cx="3608615" cy="1480405"/>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rPr>
              <a:t>Is data governance being applied correctly?</a:t>
            </a:r>
          </a:p>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rPr>
              <a:t>Test and retest periodically</a:t>
            </a:r>
          </a:p>
        </p:txBody>
      </p:sp>
      <p:sp>
        <p:nvSpPr>
          <p:cNvPr id="29" name="Right Arrow 28"/>
          <p:cNvSpPr/>
          <p:nvPr/>
        </p:nvSpPr>
        <p:spPr bwMode="auto">
          <a:xfrm>
            <a:off x="3886194" y="1665461"/>
            <a:ext cx="613232" cy="424543"/>
          </a:xfrm>
          <a:prstGeom prst="rightArrow">
            <a:avLst/>
          </a:prstGeom>
          <a:solidFill>
            <a:schemeClr val="accent4"/>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Right Arrow 29"/>
          <p:cNvSpPr/>
          <p:nvPr/>
        </p:nvSpPr>
        <p:spPr bwMode="auto">
          <a:xfrm>
            <a:off x="7799608" y="1665461"/>
            <a:ext cx="613232" cy="424543"/>
          </a:xfrm>
          <a:prstGeom prst="rightArrow">
            <a:avLst/>
          </a:prstGeom>
          <a:solidFill>
            <a:schemeClr val="accent4"/>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1" name="Group 30"/>
          <p:cNvGrpSpPr/>
          <p:nvPr/>
        </p:nvGrpSpPr>
        <p:grpSpPr>
          <a:xfrm>
            <a:off x="448124" y="4152288"/>
            <a:ext cx="3608615" cy="2122716"/>
            <a:chOff x="638627" y="1453242"/>
            <a:chExt cx="3608615" cy="2122716"/>
          </a:xfrm>
        </p:grpSpPr>
        <p:sp>
          <p:nvSpPr>
            <p:cNvPr id="32" name="Rounded Rectangle 31"/>
            <p:cNvSpPr/>
            <p:nvPr/>
          </p:nvSpPr>
          <p:spPr bwMode="auto">
            <a:xfrm>
              <a:off x="638627" y="1453242"/>
              <a:ext cx="3608615" cy="800101"/>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Threat Assessment</a:t>
              </a:r>
            </a:p>
          </p:txBody>
        </p:sp>
        <p:sp>
          <p:nvSpPr>
            <p:cNvPr id="33" name="Rectangle 32"/>
            <p:cNvSpPr/>
            <p:nvPr/>
          </p:nvSpPr>
          <p:spPr bwMode="auto">
            <a:xfrm>
              <a:off x="638627" y="2041073"/>
              <a:ext cx="3608615" cy="153488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4" name="TextBox 33"/>
          <p:cNvSpPr txBox="1"/>
          <p:nvPr/>
        </p:nvSpPr>
        <p:spPr>
          <a:xfrm>
            <a:off x="448124" y="4685507"/>
            <a:ext cx="3608615" cy="1203406"/>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rPr>
              <a:t>Who is likely to attack us?</a:t>
            </a:r>
          </a:p>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rPr>
              <a:t>What are the probable attack vectors?</a:t>
            </a:r>
          </a:p>
        </p:txBody>
      </p:sp>
      <p:sp>
        <p:nvSpPr>
          <p:cNvPr id="35" name="Rectangle 34"/>
          <p:cNvSpPr/>
          <p:nvPr/>
        </p:nvSpPr>
        <p:spPr bwMode="auto">
          <a:xfrm>
            <a:off x="4361538" y="4152288"/>
            <a:ext cx="7474862" cy="2122716"/>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6" name="Picture 35"/>
          <p:cNvPicPr>
            <a:picLocks noChangeAspect="1"/>
          </p:cNvPicPr>
          <p:nvPr/>
        </p:nvPicPr>
        <p:blipFill>
          <a:blip r:embed="rId3">
            <a:clrChange>
              <a:clrFrom>
                <a:srgbClr val="F1F1F1"/>
              </a:clrFrom>
              <a:clrTo>
                <a:srgbClr val="F1F1F1">
                  <a:alpha val="0"/>
                </a:srgbClr>
              </a:clrTo>
            </a:clrChange>
          </a:blip>
          <a:stretch>
            <a:fillRect/>
          </a:stretch>
        </p:blipFill>
        <p:spPr>
          <a:xfrm>
            <a:off x="10511469" y="4393937"/>
            <a:ext cx="1297768" cy="1677116"/>
          </a:xfrm>
          <a:prstGeom prst="rect">
            <a:avLst/>
          </a:prstGeom>
        </p:spPr>
      </p:pic>
      <p:sp>
        <p:nvSpPr>
          <p:cNvPr id="37" name="TextBox 36"/>
          <p:cNvSpPr txBox="1"/>
          <p:nvPr/>
        </p:nvSpPr>
        <p:spPr>
          <a:xfrm>
            <a:off x="4431384" y="4152288"/>
            <a:ext cx="553579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Product features that enhance security</a:t>
            </a:r>
          </a:p>
        </p:txBody>
      </p:sp>
      <p:sp>
        <p:nvSpPr>
          <p:cNvPr id="38" name="TextBox 37"/>
          <p:cNvSpPr txBox="1"/>
          <p:nvPr/>
        </p:nvSpPr>
        <p:spPr>
          <a:xfrm>
            <a:off x="4404176" y="4725635"/>
            <a:ext cx="6522366" cy="1280351"/>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ü"/>
            </a:pPr>
            <a:r>
              <a:rPr lang="en-US" sz="2000" dirty="0">
                <a:gradFill>
                  <a:gsLst>
                    <a:gs pos="2917">
                      <a:schemeClr val="tx1"/>
                    </a:gs>
                    <a:gs pos="30000">
                      <a:schemeClr val="tx1"/>
                    </a:gs>
                  </a:gsLst>
                  <a:lin ang="5400000" scaled="0"/>
                </a:gradFill>
              </a:rPr>
              <a:t>Personal authentications, such as </a:t>
            </a:r>
            <a:r>
              <a:rPr lang="en-US" sz="2000" dirty="0">
                <a:solidFill>
                  <a:schemeClr val="tx2"/>
                </a:solidFill>
              </a:rPr>
              <a:t>Windows Hello</a:t>
            </a:r>
          </a:p>
          <a:p>
            <a:pPr marL="342900" indent="-342900">
              <a:lnSpc>
                <a:spcPct val="90000"/>
              </a:lnSpc>
              <a:spcAft>
                <a:spcPts val="600"/>
              </a:spcAft>
              <a:buFont typeface="Wingdings" panose="05000000000000000000" pitchFamily="2" charset="2"/>
              <a:buChar char="ü"/>
            </a:pPr>
            <a:r>
              <a:rPr lang="en-US" sz="2000" dirty="0">
                <a:gradFill>
                  <a:gsLst>
                    <a:gs pos="2917">
                      <a:schemeClr val="tx1"/>
                    </a:gs>
                    <a:gs pos="30000">
                      <a:schemeClr val="tx1"/>
                    </a:gs>
                  </a:gsLst>
                  <a:lin ang="5400000" scaled="0"/>
                </a:gradFill>
              </a:rPr>
              <a:t>End-to-end data encryption</a:t>
            </a:r>
          </a:p>
          <a:p>
            <a:pPr marL="342900" indent="-342900">
              <a:lnSpc>
                <a:spcPct val="90000"/>
              </a:lnSpc>
              <a:spcAft>
                <a:spcPts val="600"/>
              </a:spcAft>
              <a:buFont typeface="Wingdings" panose="05000000000000000000" pitchFamily="2" charset="2"/>
              <a:buChar char="ü"/>
            </a:pPr>
            <a:r>
              <a:rPr lang="en-US" sz="2000" dirty="0">
                <a:gradFill>
                  <a:gsLst>
                    <a:gs pos="2917">
                      <a:schemeClr val="tx1"/>
                    </a:gs>
                    <a:gs pos="30000">
                      <a:schemeClr val="tx1"/>
                    </a:gs>
                  </a:gsLst>
                  <a:lin ang="5400000" scaled="0"/>
                </a:gradFill>
              </a:rPr>
              <a:t>Virtual smartcards and two-step authentications</a:t>
            </a:r>
          </a:p>
        </p:txBody>
      </p:sp>
      <p:sp>
        <p:nvSpPr>
          <p:cNvPr id="39" name="Freeform 2"/>
          <p:cNvSpPr>
            <a:spLocks noChangeAspect="1"/>
          </p:cNvSpPr>
          <p:nvPr/>
        </p:nvSpPr>
        <p:spPr bwMode="black">
          <a:xfrm>
            <a:off x="3600450" y="4250084"/>
            <a:ext cx="362372" cy="411473"/>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911" tIns="75929" rIns="94911" bIns="75929" numCol="1" spcCol="0" rtlCol="0" fromWordArt="0" anchor="t" anchorCtr="0" forceAA="0" compatLnSpc="1">
            <a:prstTxWarp prst="textNoShape">
              <a:avLst/>
            </a:prstTxWarp>
            <a:noAutofit/>
          </a:bodyPr>
          <a:lstStyle/>
          <a:p>
            <a:pPr algn="ctr" defTabSz="483924" fontAlgn="base">
              <a:lnSpc>
                <a:spcPct val="90000"/>
              </a:lnSpc>
              <a:spcBef>
                <a:spcPct val="0"/>
              </a:spcBef>
              <a:spcAft>
                <a:spcPct val="0"/>
              </a:spcAft>
            </a:pPr>
            <a:endParaRPr lang="en-US" sz="1246"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0004826"/>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311813"/>
            <a:ext cx="11655840" cy="899665"/>
          </a:xfrm>
        </p:spPr>
        <p:txBody>
          <a:bodyPr/>
          <a:lstStyle/>
          <a:p>
            <a:r>
              <a:rPr lang="en-US" dirty="0"/>
              <a:t>A move </a:t>
            </a:r>
            <a:r>
              <a:rPr lang="en-US" sz="4800" dirty="0"/>
              <a:t>to</a:t>
            </a:r>
            <a:r>
              <a:rPr lang="en-US" dirty="0"/>
              <a:t> detection and response</a:t>
            </a:r>
          </a:p>
        </p:txBody>
      </p:sp>
      <p:sp>
        <p:nvSpPr>
          <p:cNvPr id="13" name="Rectangle 12"/>
          <p:cNvSpPr/>
          <p:nvPr/>
        </p:nvSpPr>
        <p:spPr>
          <a:xfrm>
            <a:off x="307340" y="1067515"/>
            <a:ext cx="11332210" cy="461665"/>
          </a:xfrm>
          <a:prstGeom prst="rect">
            <a:avLst/>
          </a:prstGeom>
        </p:spPr>
        <p:txBody>
          <a:bodyPr wrap="square">
            <a:spAutoFit/>
          </a:bodyPr>
          <a:lstStyle/>
          <a:p>
            <a:r>
              <a:rPr lang="en-US" sz="2400" dirty="0">
                <a:gradFill>
                  <a:gsLst>
                    <a:gs pos="2917">
                      <a:schemeClr val="tx1"/>
                    </a:gs>
                    <a:gs pos="30000">
                      <a:schemeClr val="tx1"/>
                    </a:gs>
                  </a:gsLst>
                  <a:lin ang="5400000" scaled="0"/>
                </a:gradFill>
                <a:latin typeface="+mj-lt"/>
              </a:rPr>
              <a:t>Industry focus is shifting to detecting and responding to cyber hacks</a:t>
            </a:r>
          </a:p>
        </p:txBody>
      </p:sp>
      <p:grpSp>
        <p:nvGrpSpPr>
          <p:cNvPr id="17" name="Group 16"/>
          <p:cNvGrpSpPr/>
          <p:nvPr/>
        </p:nvGrpSpPr>
        <p:grpSpPr>
          <a:xfrm>
            <a:off x="666284" y="1871849"/>
            <a:ext cx="3067516" cy="3830214"/>
            <a:chOff x="818684" y="2246736"/>
            <a:chExt cx="3067516" cy="3830214"/>
          </a:xfrm>
        </p:grpSpPr>
        <p:sp>
          <p:nvSpPr>
            <p:cNvPr id="7" name="Rectangle 6"/>
            <p:cNvSpPr/>
            <p:nvPr/>
          </p:nvSpPr>
          <p:spPr bwMode="auto">
            <a:xfrm>
              <a:off x="818684" y="2246736"/>
              <a:ext cx="3067516" cy="383021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4000" dirty="0">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45" descr="C:\Users\sakuu\Documents\Ballmer MGX 2011\Tile Icons\Quotes 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220247" y="2745359"/>
              <a:ext cx="380203" cy="29677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6" descr="C:\Users\sakuu\Documents\Ballmer MGX 2011\Tile Icons\Quotes.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1067784" y="5345077"/>
              <a:ext cx="393228" cy="306947"/>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p:cNvSpPr/>
            <p:nvPr/>
          </p:nvSpPr>
          <p:spPr>
            <a:xfrm>
              <a:off x="1264398" y="2911719"/>
              <a:ext cx="2615688" cy="2308324"/>
            </a:xfrm>
            <a:prstGeom prst="rect">
              <a:avLst/>
            </a:prstGeom>
          </p:spPr>
          <p:txBody>
            <a:bodyPr wrap="square">
              <a:spAutoFit/>
            </a:bodyPr>
            <a:lstStyle/>
            <a:p>
              <a:pPr defTabSz="932472" fontAlgn="base">
                <a:lnSpc>
                  <a:spcPct val="90000"/>
                </a:lnSpc>
                <a:spcBef>
                  <a:spcPct val="0"/>
                </a:spcBef>
                <a:spcAft>
                  <a:spcPct val="0"/>
                </a:spcAft>
              </a:pPr>
              <a:r>
                <a:rPr lang="en-US" sz="4000" dirty="0">
                  <a:gradFill>
                    <a:gsLst>
                      <a:gs pos="0">
                        <a:srgbClr val="FFFFFF"/>
                      </a:gs>
                      <a:gs pos="100000">
                        <a:srgbClr val="FFFFFF"/>
                      </a:gs>
                    </a:gsLst>
                    <a:lin ang="5400000" scaled="0"/>
                  </a:gradFill>
                  <a:ea typeface="Segoe UI" pitchFamily="34" charset="0"/>
                  <a:cs typeface="Segoe UI" pitchFamily="34" charset="0"/>
                </a:rPr>
                <a:t>Perfect protection is not possible</a:t>
              </a:r>
            </a:p>
          </p:txBody>
        </p:sp>
      </p:grpSp>
      <p:grpSp>
        <p:nvGrpSpPr>
          <p:cNvPr id="4" name="Group 3"/>
          <p:cNvGrpSpPr/>
          <p:nvPr/>
        </p:nvGrpSpPr>
        <p:grpSpPr>
          <a:xfrm>
            <a:off x="4363900" y="2039906"/>
            <a:ext cx="6718100" cy="1089529"/>
            <a:chOff x="4363900" y="2039906"/>
            <a:chExt cx="6718100" cy="1089529"/>
          </a:xfrm>
        </p:grpSpPr>
        <p:sp>
          <p:nvSpPr>
            <p:cNvPr id="5" name="Rectangle 4"/>
            <p:cNvSpPr/>
            <p:nvPr/>
          </p:nvSpPr>
          <p:spPr>
            <a:xfrm>
              <a:off x="4972050" y="2039906"/>
              <a:ext cx="6109950" cy="1089529"/>
            </a:xfrm>
            <a:prstGeom prst="rect">
              <a:avLst/>
            </a:prstGeom>
          </p:spPr>
          <p:txBody>
            <a:bodyPr wrap="square">
              <a:spAutoFit/>
            </a:bodyPr>
            <a:lstStyle/>
            <a:p>
              <a:pPr algn="just" defTabSz="932472" fontAlgn="base">
                <a:lnSpc>
                  <a:spcPct val="90000"/>
                </a:lnSpc>
                <a:spcBef>
                  <a:spcPct val="0"/>
                </a:spcBef>
                <a:spcAft>
                  <a:spcPct val="0"/>
                </a:spcAft>
              </a:pPr>
              <a:r>
                <a:rPr lang="en-US" sz="2400" dirty="0">
                  <a:solidFill>
                    <a:schemeClr val="bg1">
                      <a:lumMod val="50000"/>
                    </a:schemeClr>
                  </a:solidFill>
                  <a:ea typeface="Segoe UI" pitchFamily="34" charset="0"/>
                  <a:cs typeface="Segoe UI" pitchFamily="34" charset="0"/>
                </a:rPr>
                <a:t>The average time to detect malware was </a:t>
              </a:r>
              <a:r>
                <a:rPr lang="en-US" sz="2400" dirty="0">
                  <a:solidFill>
                    <a:schemeClr val="tx2"/>
                  </a:solidFill>
                  <a:ea typeface="Segoe UI" pitchFamily="34" charset="0"/>
                  <a:cs typeface="Segoe UI" pitchFamily="34" charset="0"/>
                </a:rPr>
                <a:t>205 days</a:t>
              </a:r>
              <a:r>
                <a:rPr lang="en-US" sz="2400" dirty="0">
                  <a:ea typeface="Segoe UI" pitchFamily="34" charset="0"/>
                  <a:cs typeface="Segoe UI" pitchFamily="34" charset="0"/>
                </a:rPr>
                <a:t>, </a:t>
              </a:r>
              <a:r>
                <a:rPr lang="en-US" sz="2400" dirty="0">
                  <a:solidFill>
                    <a:schemeClr val="bg1">
                      <a:lumMod val="50000"/>
                    </a:schemeClr>
                  </a:solidFill>
                  <a:ea typeface="Segoe UI" pitchFamily="34" charset="0"/>
                  <a:cs typeface="Segoe UI" pitchFamily="34" charset="0"/>
                </a:rPr>
                <a:t>and</a:t>
              </a:r>
              <a:r>
                <a:rPr lang="en-US" sz="2400" dirty="0">
                  <a:ea typeface="Segoe UI" pitchFamily="34" charset="0"/>
                  <a:cs typeface="Segoe UI" pitchFamily="34" charset="0"/>
                </a:rPr>
                <a:t> </a:t>
              </a:r>
              <a:r>
                <a:rPr lang="en-US" sz="2400" dirty="0">
                  <a:solidFill>
                    <a:schemeClr val="tx2"/>
                  </a:solidFill>
                  <a:ea typeface="Segoe UI" pitchFamily="34" charset="0"/>
                  <a:cs typeface="Segoe UI" pitchFamily="34" charset="0"/>
                </a:rPr>
                <a:t>69% were discovered by external parties</a:t>
              </a:r>
              <a:r>
                <a:rPr lang="en-US" sz="2400" dirty="0">
                  <a:solidFill>
                    <a:schemeClr val="bg1">
                      <a:lumMod val="50000"/>
                    </a:schemeClr>
                  </a:solidFill>
                  <a:ea typeface="Segoe UI" pitchFamily="34" charset="0"/>
                  <a:cs typeface="Segoe UI" pitchFamily="34" charset="0"/>
                </a:rPr>
                <a:t>, not internal IT departments</a:t>
              </a:r>
            </a:p>
          </p:txBody>
        </p:sp>
        <p:sp>
          <p:nvSpPr>
            <p:cNvPr id="19" name="Freeform 109"/>
            <p:cNvSpPr>
              <a:spLocks noChangeAspect="1" noEditPoints="1"/>
            </p:cNvSpPr>
            <p:nvPr/>
          </p:nvSpPr>
          <p:spPr bwMode="black">
            <a:xfrm>
              <a:off x="4363900" y="2135156"/>
              <a:ext cx="557650" cy="452825"/>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chemeClr val="bg1">
                <a:lumMod val="65000"/>
              </a:schemeClr>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grpSp>
        <p:nvGrpSpPr>
          <p:cNvPr id="6" name="Group 5"/>
          <p:cNvGrpSpPr/>
          <p:nvPr/>
        </p:nvGrpSpPr>
        <p:grpSpPr>
          <a:xfrm>
            <a:off x="4363900" y="3923334"/>
            <a:ext cx="6761300" cy="1569660"/>
            <a:chOff x="4363900" y="3923334"/>
            <a:chExt cx="6761300" cy="1569660"/>
          </a:xfrm>
        </p:grpSpPr>
        <p:sp>
          <p:nvSpPr>
            <p:cNvPr id="3" name="Rectangle 2"/>
            <p:cNvSpPr/>
            <p:nvPr/>
          </p:nvSpPr>
          <p:spPr>
            <a:xfrm>
              <a:off x="4972050" y="3923334"/>
              <a:ext cx="6153150" cy="1569660"/>
            </a:xfrm>
            <a:prstGeom prst="rect">
              <a:avLst/>
            </a:prstGeom>
          </p:spPr>
          <p:txBody>
            <a:bodyPr wrap="square">
              <a:spAutoFit/>
            </a:bodyPr>
            <a:lstStyle/>
            <a:p>
              <a:pPr algn="just"/>
              <a:r>
                <a:rPr lang="en-US" sz="2400" dirty="0">
                  <a:solidFill>
                    <a:schemeClr val="bg1">
                      <a:lumMod val="50000"/>
                    </a:schemeClr>
                  </a:solidFill>
                  <a:ea typeface="Segoe UI" pitchFamily="34" charset="0"/>
                  <a:cs typeface="Segoe UI" pitchFamily="34" charset="0"/>
                </a:rPr>
                <a:t>By 2020, </a:t>
              </a:r>
              <a:r>
                <a:rPr lang="en-US" sz="2400" dirty="0">
                  <a:solidFill>
                    <a:schemeClr val="tx2"/>
                  </a:solidFill>
                </a:rPr>
                <a:t>60%</a:t>
              </a:r>
              <a:r>
                <a:rPr lang="en-US" sz="2400" dirty="0"/>
                <a:t> </a:t>
              </a:r>
              <a:r>
                <a:rPr lang="en-US" sz="2400" dirty="0">
                  <a:solidFill>
                    <a:schemeClr val="bg1">
                      <a:lumMod val="50000"/>
                    </a:schemeClr>
                  </a:solidFill>
                  <a:ea typeface="Segoe UI" pitchFamily="34" charset="0"/>
                  <a:cs typeface="Segoe UI" pitchFamily="34" charset="0"/>
                </a:rPr>
                <a:t>of enterprise information security budgets will be allocated for </a:t>
              </a:r>
              <a:r>
                <a:rPr lang="en-US" sz="2400" dirty="0">
                  <a:solidFill>
                    <a:schemeClr val="tx2"/>
                  </a:solidFill>
                </a:rPr>
                <a:t>rapid detection and response approaches</a:t>
              </a:r>
              <a:r>
                <a:rPr lang="en-US" sz="2400" dirty="0">
                  <a:solidFill>
                    <a:schemeClr val="bg1">
                      <a:lumMod val="50000"/>
                    </a:schemeClr>
                  </a:solidFill>
                  <a:ea typeface="Segoe UI" pitchFamily="34" charset="0"/>
                  <a:cs typeface="Segoe UI" pitchFamily="34" charset="0"/>
                </a:rPr>
                <a:t>, up from less than 20% in 2015.</a:t>
              </a:r>
            </a:p>
          </p:txBody>
        </p:sp>
        <p:sp>
          <p:nvSpPr>
            <p:cNvPr id="20" name="Freeform 33"/>
            <p:cNvSpPr>
              <a:spLocks noChangeAspect="1" noEditPoints="1"/>
            </p:cNvSpPr>
            <p:nvPr/>
          </p:nvSpPr>
          <p:spPr bwMode="black">
            <a:xfrm>
              <a:off x="4363900" y="4018584"/>
              <a:ext cx="557650" cy="396667"/>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cxnSp>
        <p:nvCxnSpPr>
          <p:cNvPr id="9" name="Straight Connector 8"/>
          <p:cNvCxnSpPr/>
          <p:nvPr/>
        </p:nvCxnSpPr>
        <p:spPr>
          <a:xfrm>
            <a:off x="359390" y="6229350"/>
            <a:ext cx="11332210" cy="0"/>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7455956"/>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Surfing </a:t>
            </a:r>
            <a:r>
              <a:rPr lang="en-US" sz="4800"/>
              <a:t>the wave of cyber crime</a:t>
            </a:r>
            <a:endParaRPr lang="en-US" sz="4800" dirty="0"/>
          </a:p>
        </p:txBody>
      </p:sp>
      <p:sp>
        <p:nvSpPr>
          <p:cNvPr id="3" name="Rectangle 2"/>
          <p:cNvSpPr/>
          <p:nvPr/>
        </p:nvSpPr>
        <p:spPr bwMode="auto">
          <a:xfrm>
            <a:off x="-419100" y="2095500"/>
            <a:ext cx="12657106" cy="4762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Moon 3"/>
          <p:cNvSpPr/>
          <p:nvPr/>
        </p:nvSpPr>
        <p:spPr bwMode="auto">
          <a:xfrm rot="1689859">
            <a:off x="1771649" y="1733549"/>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Moon 7"/>
          <p:cNvSpPr/>
          <p:nvPr/>
        </p:nvSpPr>
        <p:spPr bwMode="auto">
          <a:xfrm rot="1689859">
            <a:off x="2305048" y="1733549"/>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Moon 8"/>
          <p:cNvSpPr/>
          <p:nvPr/>
        </p:nvSpPr>
        <p:spPr bwMode="auto">
          <a:xfrm rot="1689859">
            <a:off x="1771650" y="1886461"/>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oon 12"/>
          <p:cNvSpPr/>
          <p:nvPr/>
        </p:nvSpPr>
        <p:spPr bwMode="auto">
          <a:xfrm rot="1689859">
            <a:off x="2673463" y="1777169"/>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Moon 13"/>
          <p:cNvSpPr/>
          <p:nvPr/>
        </p:nvSpPr>
        <p:spPr bwMode="auto">
          <a:xfrm rot="1689859">
            <a:off x="3206862" y="1777169"/>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Moon 14"/>
          <p:cNvSpPr/>
          <p:nvPr/>
        </p:nvSpPr>
        <p:spPr bwMode="auto">
          <a:xfrm rot="1689859">
            <a:off x="2673464" y="1930081"/>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Moon 15"/>
          <p:cNvSpPr/>
          <p:nvPr/>
        </p:nvSpPr>
        <p:spPr bwMode="auto">
          <a:xfrm rot="1689859">
            <a:off x="3374912" y="1831815"/>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Moon 16"/>
          <p:cNvSpPr/>
          <p:nvPr/>
        </p:nvSpPr>
        <p:spPr bwMode="auto">
          <a:xfrm rot="1689859">
            <a:off x="3908311" y="1831815"/>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Moon 17"/>
          <p:cNvSpPr/>
          <p:nvPr/>
        </p:nvSpPr>
        <p:spPr bwMode="auto">
          <a:xfrm rot="1689859">
            <a:off x="3374913" y="1984727"/>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Moon 18"/>
          <p:cNvSpPr/>
          <p:nvPr/>
        </p:nvSpPr>
        <p:spPr bwMode="auto">
          <a:xfrm rot="1689859">
            <a:off x="3205328" y="1656836"/>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Moon 19"/>
          <p:cNvSpPr/>
          <p:nvPr/>
        </p:nvSpPr>
        <p:spPr bwMode="auto">
          <a:xfrm rot="1689859">
            <a:off x="3573743" y="1700456"/>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Moon 20"/>
          <p:cNvSpPr/>
          <p:nvPr/>
        </p:nvSpPr>
        <p:spPr bwMode="auto">
          <a:xfrm rot="1689859">
            <a:off x="4107142" y="1700456"/>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Moon 21"/>
          <p:cNvSpPr/>
          <p:nvPr/>
        </p:nvSpPr>
        <p:spPr bwMode="auto">
          <a:xfrm rot="1689859">
            <a:off x="3573744" y="1853368"/>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Moon 22"/>
          <p:cNvSpPr/>
          <p:nvPr/>
        </p:nvSpPr>
        <p:spPr bwMode="auto">
          <a:xfrm rot="1689859">
            <a:off x="4275192" y="1755102"/>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Moon 23"/>
          <p:cNvSpPr/>
          <p:nvPr/>
        </p:nvSpPr>
        <p:spPr bwMode="auto">
          <a:xfrm rot="1689859">
            <a:off x="4808591" y="1755102"/>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Moon 24"/>
          <p:cNvSpPr/>
          <p:nvPr/>
        </p:nvSpPr>
        <p:spPr bwMode="auto">
          <a:xfrm rot="1689859">
            <a:off x="4275193" y="1908014"/>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Moon 25"/>
          <p:cNvSpPr/>
          <p:nvPr/>
        </p:nvSpPr>
        <p:spPr bwMode="auto">
          <a:xfrm rot="1689859">
            <a:off x="3357728" y="1809236"/>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Moon 26"/>
          <p:cNvSpPr/>
          <p:nvPr/>
        </p:nvSpPr>
        <p:spPr bwMode="auto">
          <a:xfrm rot="1689859">
            <a:off x="3726143" y="1852856"/>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Moon 27"/>
          <p:cNvSpPr/>
          <p:nvPr/>
        </p:nvSpPr>
        <p:spPr bwMode="auto">
          <a:xfrm rot="1689859">
            <a:off x="4259542" y="1852856"/>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Moon 28"/>
          <p:cNvSpPr/>
          <p:nvPr/>
        </p:nvSpPr>
        <p:spPr bwMode="auto">
          <a:xfrm rot="1689859">
            <a:off x="3726144" y="2005768"/>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Moon 29"/>
          <p:cNvSpPr/>
          <p:nvPr/>
        </p:nvSpPr>
        <p:spPr bwMode="auto">
          <a:xfrm rot="1689859">
            <a:off x="4427592" y="1907502"/>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Moon 30"/>
          <p:cNvSpPr/>
          <p:nvPr/>
        </p:nvSpPr>
        <p:spPr bwMode="auto">
          <a:xfrm rot="1689859">
            <a:off x="4960991" y="1907502"/>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Moon 31"/>
          <p:cNvSpPr/>
          <p:nvPr/>
        </p:nvSpPr>
        <p:spPr bwMode="auto">
          <a:xfrm rot="1689859">
            <a:off x="4427593" y="2060414"/>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Moon 32"/>
          <p:cNvSpPr/>
          <p:nvPr/>
        </p:nvSpPr>
        <p:spPr bwMode="auto">
          <a:xfrm rot="1689859">
            <a:off x="2427172" y="1678902"/>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Moon 33"/>
          <p:cNvSpPr/>
          <p:nvPr/>
        </p:nvSpPr>
        <p:spPr bwMode="auto">
          <a:xfrm rot="1689859">
            <a:off x="2579572" y="1831302"/>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Moon 34"/>
          <p:cNvSpPr/>
          <p:nvPr/>
        </p:nvSpPr>
        <p:spPr bwMode="auto">
          <a:xfrm rot="1689859">
            <a:off x="4975283" y="1787683"/>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Moon 35"/>
          <p:cNvSpPr/>
          <p:nvPr/>
        </p:nvSpPr>
        <p:spPr bwMode="auto">
          <a:xfrm rot="1689859">
            <a:off x="5508682" y="1787683"/>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Moon 36"/>
          <p:cNvSpPr/>
          <p:nvPr/>
        </p:nvSpPr>
        <p:spPr bwMode="auto">
          <a:xfrm rot="1689859">
            <a:off x="4975284" y="1940595"/>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Moon 37"/>
          <p:cNvSpPr/>
          <p:nvPr/>
        </p:nvSpPr>
        <p:spPr bwMode="auto">
          <a:xfrm rot="1689859">
            <a:off x="5877097" y="1831303"/>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Moon 38"/>
          <p:cNvSpPr/>
          <p:nvPr/>
        </p:nvSpPr>
        <p:spPr bwMode="auto">
          <a:xfrm rot="1689859">
            <a:off x="6410496" y="1831303"/>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Moon 39"/>
          <p:cNvSpPr/>
          <p:nvPr/>
        </p:nvSpPr>
        <p:spPr bwMode="auto">
          <a:xfrm rot="1689859">
            <a:off x="5877098" y="1984215"/>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Moon 40"/>
          <p:cNvSpPr/>
          <p:nvPr/>
        </p:nvSpPr>
        <p:spPr bwMode="auto">
          <a:xfrm rot="1689859">
            <a:off x="6578546" y="1885949"/>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Moon 41"/>
          <p:cNvSpPr/>
          <p:nvPr/>
        </p:nvSpPr>
        <p:spPr bwMode="auto">
          <a:xfrm rot="1689859">
            <a:off x="7111945" y="1885949"/>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Moon 42"/>
          <p:cNvSpPr/>
          <p:nvPr/>
        </p:nvSpPr>
        <p:spPr bwMode="auto">
          <a:xfrm rot="1689859">
            <a:off x="6578547" y="2038861"/>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Moon 43"/>
          <p:cNvSpPr/>
          <p:nvPr/>
        </p:nvSpPr>
        <p:spPr bwMode="auto">
          <a:xfrm rot="1689859">
            <a:off x="6408962" y="1710970"/>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Moon 44"/>
          <p:cNvSpPr/>
          <p:nvPr/>
        </p:nvSpPr>
        <p:spPr bwMode="auto">
          <a:xfrm rot="1689859">
            <a:off x="6777377" y="1754590"/>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Moon 45"/>
          <p:cNvSpPr/>
          <p:nvPr/>
        </p:nvSpPr>
        <p:spPr bwMode="auto">
          <a:xfrm rot="1689859">
            <a:off x="7310776" y="1754590"/>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Moon 46"/>
          <p:cNvSpPr/>
          <p:nvPr/>
        </p:nvSpPr>
        <p:spPr bwMode="auto">
          <a:xfrm rot="1689859">
            <a:off x="6777378" y="1907502"/>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Moon 47"/>
          <p:cNvSpPr/>
          <p:nvPr/>
        </p:nvSpPr>
        <p:spPr bwMode="auto">
          <a:xfrm rot="1689859">
            <a:off x="7478826" y="1809236"/>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Moon 48"/>
          <p:cNvSpPr/>
          <p:nvPr/>
        </p:nvSpPr>
        <p:spPr bwMode="auto">
          <a:xfrm rot="1689859">
            <a:off x="8012225" y="1809236"/>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Moon 49"/>
          <p:cNvSpPr/>
          <p:nvPr/>
        </p:nvSpPr>
        <p:spPr bwMode="auto">
          <a:xfrm rot="1689859">
            <a:off x="7478827" y="1962148"/>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Moon 50"/>
          <p:cNvSpPr/>
          <p:nvPr/>
        </p:nvSpPr>
        <p:spPr bwMode="auto">
          <a:xfrm rot="1689859">
            <a:off x="6561362" y="1863370"/>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Moon 51"/>
          <p:cNvSpPr/>
          <p:nvPr/>
        </p:nvSpPr>
        <p:spPr bwMode="auto">
          <a:xfrm rot="1689859">
            <a:off x="6929777" y="1906990"/>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Moon 52"/>
          <p:cNvSpPr/>
          <p:nvPr/>
        </p:nvSpPr>
        <p:spPr bwMode="auto">
          <a:xfrm rot="1689859">
            <a:off x="7463176" y="1906990"/>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Moon 53"/>
          <p:cNvSpPr/>
          <p:nvPr/>
        </p:nvSpPr>
        <p:spPr bwMode="auto">
          <a:xfrm rot="1689859">
            <a:off x="6929778" y="2059902"/>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Moon 54"/>
          <p:cNvSpPr/>
          <p:nvPr/>
        </p:nvSpPr>
        <p:spPr bwMode="auto">
          <a:xfrm rot="1689859">
            <a:off x="7631226" y="1961636"/>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Moon 55"/>
          <p:cNvSpPr/>
          <p:nvPr/>
        </p:nvSpPr>
        <p:spPr bwMode="auto">
          <a:xfrm rot="1689859">
            <a:off x="8164625" y="1961636"/>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7" name="Moon 56"/>
          <p:cNvSpPr/>
          <p:nvPr/>
        </p:nvSpPr>
        <p:spPr bwMode="auto">
          <a:xfrm rot="1689859">
            <a:off x="7631227" y="2114548"/>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Moon 57"/>
          <p:cNvSpPr/>
          <p:nvPr/>
        </p:nvSpPr>
        <p:spPr bwMode="auto">
          <a:xfrm rot="1689859">
            <a:off x="5630806" y="1733036"/>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9" name="Moon 58"/>
          <p:cNvSpPr/>
          <p:nvPr/>
        </p:nvSpPr>
        <p:spPr bwMode="auto">
          <a:xfrm rot="1689859">
            <a:off x="5783206" y="1885436"/>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Moon 59"/>
          <p:cNvSpPr/>
          <p:nvPr/>
        </p:nvSpPr>
        <p:spPr bwMode="auto">
          <a:xfrm rot="1689859">
            <a:off x="5175474" y="1624484"/>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Moon 60"/>
          <p:cNvSpPr/>
          <p:nvPr/>
        </p:nvSpPr>
        <p:spPr bwMode="auto">
          <a:xfrm rot="1689859">
            <a:off x="5543889" y="1668104"/>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Moon 61"/>
          <p:cNvSpPr/>
          <p:nvPr/>
        </p:nvSpPr>
        <p:spPr bwMode="auto">
          <a:xfrm rot="1689859">
            <a:off x="6077288" y="1668104"/>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3" name="Moon 62"/>
          <p:cNvSpPr/>
          <p:nvPr/>
        </p:nvSpPr>
        <p:spPr bwMode="auto">
          <a:xfrm rot="1689859">
            <a:off x="5543890" y="1821016"/>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4" name="Moon 63"/>
          <p:cNvSpPr/>
          <p:nvPr/>
        </p:nvSpPr>
        <p:spPr bwMode="auto">
          <a:xfrm rot="1689859">
            <a:off x="6245338" y="1722750"/>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Moon 64"/>
          <p:cNvSpPr/>
          <p:nvPr/>
        </p:nvSpPr>
        <p:spPr bwMode="auto">
          <a:xfrm rot="1689859">
            <a:off x="6778737" y="1722750"/>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6" name="Moon 65"/>
          <p:cNvSpPr/>
          <p:nvPr/>
        </p:nvSpPr>
        <p:spPr bwMode="auto">
          <a:xfrm rot="1689859">
            <a:off x="6444170" y="1744303"/>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7" name="Moon 66"/>
          <p:cNvSpPr/>
          <p:nvPr/>
        </p:nvSpPr>
        <p:spPr bwMode="auto">
          <a:xfrm rot="1689859">
            <a:off x="7145618" y="1646037"/>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8" name="Moon 67"/>
          <p:cNvSpPr/>
          <p:nvPr/>
        </p:nvSpPr>
        <p:spPr bwMode="auto">
          <a:xfrm rot="1689859">
            <a:off x="7679017" y="1646037"/>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9" name="Moon 68"/>
          <p:cNvSpPr/>
          <p:nvPr/>
        </p:nvSpPr>
        <p:spPr bwMode="auto">
          <a:xfrm rot="1689859">
            <a:off x="7145619" y="1798949"/>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0" name="Moon 69"/>
          <p:cNvSpPr/>
          <p:nvPr/>
        </p:nvSpPr>
        <p:spPr bwMode="auto">
          <a:xfrm rot="1689859">
            <a:off x="6228154" y="1700171"/>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1" name="Moon 70"/>
          <p:cNvSpPr/>
          <p:nvPr/>
        </p:nvSpPr>
        <p:spPr bwMode="auto">
          <a:xfrm rot="1689859">
            <a:off x="6596569" y="1743791"/>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2" name="Moon 71"/>
          <p:cNvSpPr/>
          <p:nvPr/>
        </p:nvSpPr>
        <p:spPr bwMode="auto">
          <a:xfrm rot="1689859">
            <a:off x="7129968" y="1743791"/>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Moon 72"/>
          <p:cNvSpPr/>
          <p:nvPr/>
        </p:nvSpPr>
        <p:spPr bwMode="auto">
          <a:xfrm rot="1689859">
            <a:off x="7298018" y="1798437"/>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Moon 73"/>
          <p:cNvSpPr/>
          <p:nvPr/>
        </p:nvSpPr>
        <p:spPr bwMode="auto">
          <a:xfrm rot="1689859">
            <a:off x="7831417" y="1798437"/>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5" name="Moon 74"/>
          <p:cNvSpPr/>
          <p:nvPr/>
        </p:nvSpPr>
        <p:spPr bwMode="auto">
          <a:xfrm rot="1689859">
            <a:off x="5449998" y="1722237"/>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6" name="Moon 75"/>
          <p:cNvSpPr/>
          <p:nvPr/>
        </p:nvSpPr>
        <p:spPr bwMode="auto">
          <a:xfrm rot="1689859">
            <a:off x="7845709" y="1678618"/>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Moon 76"/>
          <p:cNvSpPr/>
          <p:nvPr/>
        </p:nvSpPr>
        <p:spPr bwMode="auto">
          <a:xfrm rot="1689859">
            <a:off x="8379108" y="1678618"/>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Moon 77"/>
          <p:cNvSpPr/>
          <p:nvPr/>
        </p:nvSpPr>
        <p:spPr bwMode="auto">
          <a:xfrm rot="1689859">
            <a:off x="7845710" y="1831530"/>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9" name="Moon 78"/>
          <p:cNvSpPr/>
          <p:nvPr/>
        </p:nvSpPr>
        <p:spPr bwMode="auto">
          <a:xfrm rot="1689859">
            <a:off x="8747523" y="1722238"/>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0" name="Moon 79"/>
          <p:cNvSpPr/>
          <p:nvPr/>
        </p:nvSpPr>
        <p:spPr bwMode="auto">
          <a:xfrm rot="1689859">
            <a:off x="9280922" y="1722238"/>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Moon 80"/>
          <p:cNvSpPr/>
          <p:nvPr/>
        </p:nvSpPr>
        <p:spPr bwMode="auto">
          <a:xfrm rot="1689859">
            <a:off x="9448972" y="1776884"/>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2" name="Moon 81"/>
          <p:cNvSpPr/>
          <p:nvPr/>
        </p:nvSpPr>
        <p:spPr bwMode="auto">
          <a:xfrm rot="1689859">
            <a:off x="9982371" y="1776884"/>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3" name="Moon 82"/>
          <p:cNvSpPr/>
          <p:nvPr/>
        </p:nvSpPr>
        <p:spPr bwMode="auto">
          <a:xfrm rot="1689859">
            <a:off x="9647803" y="1645525"/>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Moon 83"/>
          <p:cNvSpPr/>
          <p:nvPr/>
        </p:nvSpPr>
        <p:spPr bwMode="auto">
          <a:xfrm rot="1689859">
            <a:off x="10181202" y="1645525"/>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5" name="Moon 84"/>
          <p:cNvSpPr/>
          <p:nvPr/>
        </p:nvSpPr>
        <p:spPr bwMode="auto">
          <a:xfrm rot="1689859">
            <a:off x="9647804" y="1798437"/>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Moon 85"/>
          <p:cNvSpPr/>
          <p:nvPr/>
        </p:nvSpPr>
        <p:spPr bwMode="auto">
          <a:xfrm rot="1689859">
            <a:off x="10349252" y="1700171"/>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Moon 86"/>
          <p:cNvSpPr/>
          <p:nvPr/>
        </p:nvSpPr>
        <p:spPr bwMode="auto">
          <a:xfrm rot="1689859">
            <a:off x="10882651" y="1700171"/>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Moon 87"/>
          <p:cNvSpPr/>
          <p:nvPr/>
        </p:nvSpPr>
        <p:spPr bwMode="auto">
          <a:xfrm rot="1689859">
            <a:off x="10349253" y="1853083"/>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Moon 88"/>
          <p:cNvSpPr/>
          <p:nvPr/>
        </p:nvSpPr>
        <p:spPr bwMode="auto">
          <a:xfrm rot="1689859">
            <a:off x="9431788" y="1754305"/>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Moon 89"/>
          <p:cNvSpPr/>
          <p:nvPr/>
        </p:nvSpPr>
        <p:spPr bwMode="auto">
          <a:xfrm rot="1689859">
            <a:off x="9800203" y="1797925"/>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Moon 90"/>
          <p:cNvSpPr/>
          <p:nvPr/>
        </p:nvSpPr>
        <p:spPr bwMode="auto">
          <a:xfrm rot="1689859">
            <a:off x="10333602" y="1797925"/>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2" name="Moon 91"/>
          <p:cNvSpPr/>
          <p:nvPr/>
        </p:nvSpPr>
        <p:spPr bwMode="auto">
          <a:xfrm rot="1689859">
            <a:off x="10501652" y="1852571"/>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Moon 92"/>
          <p:cNvSpPr/>
          <p:nvPr/>
        </p:nvSpPr>
        <p:spPr bwMode="auto">
          <a:xfrm rot="1689859">
            <a:off x="11035051" y="1852571"/>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Moon 93"/>
          <p:cNvSpPr/>
          <p:nvPr/>
        </p:nvSpPr>
        <p:spPr bwMode="auto">
          <a:xfrm rot="1689859">
            <a:off x="8501232" y="1623971"/>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5" name="Moon 94"/>
          <p:cNvSpPr/>
          <p:nvPr/>
        </p:nvSpPr>
        <p:spPr bwMode="auto">
          <a:xfrm rot="1689859">
            <a:off x="8653632" y="1776371"/>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6" name="Moon 95"/>
          <p:cNvSpPr/>
          <p:nvPr/>
        </p:nvSpPr>
        <p:spPr bwMode="auto">
          <a:xfrm rot="1689859">
            <a:off x="-1111535" y="1569603"/>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Moon 96"/>
          <p:cNvSpPr/>
          <p:nvPr/>
        </p:nvSpPr>
        <p:spPr bwMode="auto">
          <a:xfrm rot="1689859">
            <a:off x="-743120" y="1613223"/>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8" name="Moon 97"/>
          <p:cNvSpPr/>
          <p:nvPr/>
        </p:nvSpPr>
        <p:spPr bwMode="auto">
          <a:xfrm rot="1689859">
            <a:off x="-209721" y="1613223"/>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9" name="Moon 98"/>
          <p:cNvSpPr/>
          <p:nvPr/>
        </p:nvSpPr>
        <p:spPr bwMode="auto">
          <a:xfrm rot="1689859">
            <a:off x="-743119" y="1766135"/>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 name="Moon 99"/>
          <p:cNvSpPr/>
          <p:nvPr/>
        </p:nvSpPr>
        <p:spPr bwMode="auto">
          <a:xfrm rot="1689859">
            <a:off x="-41671" y="1667869"/>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Moon 100"/>
          <p:cNvSpPr/>
          <p:nvPr/>
        </p:nvSpPr>
        <p:spPr bwMode="auto">
          <a:xfrm rot="1689859">
            <a:off x="491728" y="1667869"/>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Moon 101"/>
          <p:cNvSpPr/>
          <p:nvPr/>
        </p:nvSpPr>
        <p:spPr bwMode="auto">
          <a:xfrm rot="1689859">
            <a:off x="157161" y="1689422"/>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Moon 102"/>
          <p:cNvSpPr/>
          <p:nvPr/>
        </p:nvSpPr>
        <p:spPr bwMode="auto">
          <a:xfrm rot="1689859">
            <a:off x="858609" y="1591156"/>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4" name="Moon 103"/>
          <p:cNvSpPr/>
          <p:nvPr/>
        </p:nvSpPr>
        <p:spPr bwMode="auto">
          <a:xfrm rot="1689859">
            <a:off x="1392008" y="1591156"/>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Moon 104"/>
          <p:cNvSpPr/>
          <p:nvPr/>
        </p:nvSpPr>
        <p:spPr bwMode="auto">
          <a:xfrm rot="1689859">
            <a:off x="858610" y="1744068"/>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Moon 105"/>
          <p:cNvSpPr/>
          <p:nvPr/>
        </p:nvSpPr>
        <p:spPr bwMode="auto">
          <a:xfrm rot="1689859">
            <a:off x="-58855" y="1645290"/>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Moon 106"/>
          <p:cNvSpPr/>
          <p:nvPr/>
        </p:nvSpPr>
        <p:spPr bwMode="auto">
          <a:xfrm rot="1689859">
            <a:off x="309560" y="1688910"/>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Moon 107"/>
          <p:cNvSpPr/>
          <p:nvPr/>
        </p:nvSpPr>
        <p:spPr bwMode="auto">
          <a:xfrm rot="1689859">
            <a:off x="842959" y="1688910"/>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9" name="Moon 108"/>
          <p:cNvSpPr/>
          <p:nvPr/>
        </p:nvSpPr>
        <p:spPr bwMode="auto">
          <a:xfrm rot="1689859">
            <a:off x="1011009" y="1743556"/>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0" name="Moon 109"/>
          <p:cNvSpPr/>
          <p:nvPr/>
        </p:nvSpPr>
        <p:spPr bwMode="auto">
          <a:xfrm rot="1689859">
            <a:off x="1544408" y="1743556"/>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Moon 110"/>
          <p:cNvSpPr/>
          <p:nvPr/>
        </p:nvSpPr>
        <p:spPr bwMode="auto">
          <a:xfrm rot="1689859">
            <a:off x="-837011" y="1667356"/>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2" name="Moon 111"/>
          <p:cNvSpPr/>
          <p:nvPr/>
        </p:nvSpPr>
        <p:spPr bwMode="auto">
          <a:xfrm rot="1689859">
            <a:off x="1558700" y="1623737"/>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3" name="Moon 112"/>
          <p:cNvSpPr/>
          <p:nvPr/>
        </p:nvSpPr>
        <p:spPr bwMode="auto">
          <a:xfrm rot="1689859">
            <a:off x="2092099" y="1623737"/>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4" name="Moon 113"/>
          <p:cNvSpPr/>
          <p:nvPr/>
        </p:nvSpPr>
        <p:spPr bwMode="auto">
          <a:xfrm rot="1689859">
            <a:off x="1558701" y="1776649"/>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Moon 114"/>
          <p:cNvSpPr/>
          <p:nvPr/>
        </p:nvSpPr>
        <p:spPr bwMode="auto">
          <a:xfrm rot="1689859">
            <a:off x="2460514" y="1667357"/>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Moon 115"/>
          <p:cNvSpPr/>
          <p:nvPr/>
        </p:nvSpPr>
        <p:spPr bwMode="auto">
          <a:xfrm rot="1689859">
            <a:off x="2993913" y="1667357"/>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Moon 116"/>
          <p:cNvSpPr/>
          <p:nvPr/>
        </p:nvSpPr>
        <p:spPr bwMode="auto">
          <a:xfrm rot="1689859">
            <a:off x="3161963" y="1722003"/>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8" name="Moon 117"/>
          <p:cNvSpPr/>
          <p:nvPr/>
        </p:nvSpPr>
        <p:spPr bwMode="auto">
          <a:xfrm rot="1689859">
            <a:off x="3695362" y="1722003"/>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9" name="Moon 118"/>
          <p:cNvSpPr/>
          <p:nvPr/>
        </p:nvSpPr>
        <p:spPr bwMode="auto">
          <a:xfrm rot="1689859">
            <a:off x="3360794" y="1590644"/>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0" name="Moon 119"/>
          <p:cNvSpPr/>
          <p:nvPr/>
        </p:nvSpPr>
        <p:spPr bwMode="auto">
          <a:xfrm rot="1689859">
            <a:off x="3894193" y="1590644"/>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1" name="Moon 120"/>
          <p:cNvSpPr/>
          <p:nvPr/>
        </p:nvSpPr>
        <p:spPr bwMode="auto">
          <a:xfrm rot="1689859">
            <a:off x="3360795" y="1743556"/>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2" name="Moon 121"/>
          <p:cNvSpPr/>
          <p:nvPr/>
        </p:nvSpPr>
        <p:spPr bwMode="auto">
          <a:xfrm rot="1689859">
            <a:off x="4062243" y="1645290"/>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3" name="Moon 122"/>
          <p:cNvSpPr/>
          <p:nvPr/>
        </p:nvSpPr>
        <p:spPr bwMode="auto">
          <a:xfrm rot="1689859">
            <a:off x="4595642" y="1645290"/>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4" name="Moon 123"/>
          <p:cNvSpPr/>
          <p:nvPr/>
        </p:nvSpPr>
        <p:spPr bwMode="auto">
          <a:xfrm rot="1689859">
            <a:off x="4062244" y="1798202"/>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5" name="Moon 124"/>
          <p:cNvSpPr/>
          <p:nvPr/>
        </p:nvSpPr>
        <p:spPr bwMode="auto">
          <a:xfrm rot="1689859">
            <a:off x="3144779" y="1699424"/>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6" name="Moon 125"/>
          <p:cNvSpPr/>
          <p:nvPr/>
        </p:nvSpPr>
        <p:spPr bwMode="auto">
          <a:xfrm rot="1689859">
            <a:off x="3513194" y="1743044"/>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7" name="Moon 126"/>
          <p:cNvSpPr/>
          <p:nvPr/>
        </p:nvSpPr>
        <p:spPr bwMode="auto">
          <a:xfrm rot="1689859">
            <a:off x="4046593" y="1743044"/>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8" name="Moon 127"/>
          <p:cNvSpPr/>
          <p:nvPr/>
        </p:nvSpPr>
        <p:spPr bwMode="auto">
          <a:xfrm rot="1689859">
            <a:off x="4214643" y="1797690"/>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9" name="Moon 128"/>
          <p:cNvSpPr/>
          <p:nvPr/>
        </p:nvSpPr>
        <p:spPr bwMode="auto">
          <a:xfrm rot="1689859">
            <a:off x="4748042" y="1797690"/>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Moon 129"/>
          <p:cNvSpPr/>
          <p:nvPr/>
        </p:nvSpPr>
        <p:spPr bwMode="auto">
          <a:xfrm rot="1689859">
            <a:off x="2214223" y="1569090"/>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Moon 130"/>
          <p:cNvSpPr/>
          <p:nvPr/>
        </p:nvSpPr>
        <p:spPr bwMode="auto">
          <a:xfrm rot="1689859">
            <a:off x="2366623" y="1721490"/>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Moon 4"/>
          <p:cNvSpPr/>
          <p:nvPr/>
        </p:nvSpPr>
        <p:spPr bwMode="auto">
          <a:xfrm rot="2379495">
            <a:off x="1973628" y="2004027"/>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Moon 132"/>
          <p:cNvSpPr/>
          <p:nvPr/>
        </p:nvSpPr>
        <p:spPr bwMode="auto">
          <a:xfrm rot="2379495">
            <a:off x="3383323" y="1870673"/>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Moon 133"/>
          <p:cNvSpPr/>
          <p:nvPr/>
        </p:nvSpPr>
        <p:spPr bwMode="auto">
          <a:xfrm rot="2379495">
            <a:off x="3230707" y="1908260"/>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Moon 134"/>
          <p:cNvSpPr/>
          <p:nvPr/>
        </p:nvSpPr>
        <p:spPr bwMode="auto">
          <a:xfrm rot="2379495">
            <a:off x="3383107" y="2060660"/>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6" name="Moon 135"/>
          <p:cNvSpPr/>
          <p:nvPr/>
        </p:nvSpPr>
        <p:spPr bwMode="auto">
          <a:xfrm rot="2379495">
            <a:off x="2392219" y="1908260"/>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Moon 136"/>
          <p:cNvSpPr/>
          <p:nvPr/>
        </p:nvSpPr>
        <p:spPr bwMode="auto">
          <a:xfrm rot="2379495">
            <a:off x="1611589" y="2003507"/>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8" name="Moon 137"/>
          <p:cNvSpPr/>
          <p:nvPr/>
        </p:nvSpPr>
        <p:spPr bwMode="auto">
          <a:xfrm rot="2379495">
            <a:off x="467737" y="1908260"/>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Moon 138"/>
          <p:cNvSpPr/>
          <p:nvPr/>
        </p:nvSpPr>
        <p:spPr bwMode="auto">
          <a:xfrm rot="2379495">
            <a:off x="620137" y="2060660"/>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0" name="Moon 139"/>
          <p:cNvSpPr/>
          <p:nvPr/>
        </p:nvSpPr>
        <p:spPr bwMode="auto">
          <a:xfrm rot="2379495">
            <a:off x="4924380" y="1875883"/>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1" name="Moon 140"/>
          <p:cNvSpPr/>
          <p:nvPr/>
        </p:nvSpPr>
        <p:spPr bwMode="auto">
          <a:xfrm rot="2379495">
            <a:off x="2552796" y="1991086"/>
            <a:ext cx="399740" cy="1523793"/>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2" name="Moon 141"/>
          <p:cNvSpPr/>
          <p:nvPr/>
        </p:nvSpPr>
        <p:spPr bwMode="auto">
          <a:xfrm rot="2379495">
            <a:off x="4260474" y="1889215"/>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3" name="Moon 142"/>
          <p:cNvSpPr/>
          <p:nvPr/>
        </p:nvSpPr>
        <p:spPr bwMode="auto">
          <a:xfrm rot="2379495">
            <a:off x="4107858" y="1926802"/>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4" name="Moon 143"/>
          <p:cNvSpPr/>
          <p:nvPr/>
        </p:nvSpPr>
        <p:spPr bwMode="auto">
          <a:xfrm rot="2379495">
            <a:off x="4260258" y="2079202"/>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5" name="Moon 144"/>
          <p:cNvSpPr/>
          <p:nvPr/>
        </p:nvSpPr>
        <p:spPr bwMode="auto">
          <a:xfrm rot="2379495">
            <a:off x="3269370" y="1926802"/>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6" name="Moon 145"/>
          <p:cNvSpPr/>
          <p:nvPr/>
        </p:nvSpPr>
        <p:spPr bwMode="auto">
          <a:xfrm rot="2379495">
            <a:off x="2488740" y="2022049"/>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7" name="Moon 146"/>
          <p:cNvSpPr/>
          <p:nvPr/>
        </p:nvSpPr>
        <p:spPr bwMode="auto">
          <a:xfrm rot="2379495">
            <a:off x="1344888" y="1926802"/>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8" name="Moon 147"/>
          <p:cNvSpPr/>
          <p:nvPr/>
        </p:nvSpPr>
        <p:spPr bwMode="auto">
          <a:xfrm rot="2379495">
            <a:off x="1497288" y="2079202"/>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9" name="Moon 148"/>
          <p:cNvSpPr/>
          <p:nvPr/>
        </p:nvSpPr>
        <p:spPr bwMode="auto">
          <a:xfrm rot="2379495">
            <a:off x="6774869" y="2023381"/>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0" name="Moon 149"/>
          <p:cNvSpPr/>
          <p:nvPr/>
        </p:nvSpPr>
        <p:spPr bwMode="auto">
          <a:xfrm rot="2379495">
            <a:off x="8184564" y="1890027"/>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1" name="Moon 150"/>
          <p:cNvSpPr/>
          <p:nvPr/>
        </p:nvSpPr>
        <p:spPr bwMode="auto">
          <a:xfrm rot="2379495">
            <a:off x="8031948" y="1927614"/>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2" name="Moon 151"/>
          <p:cNvSpPr/>
          <p:nvPr/>
        </p:nvSpPr>
        <p:spPr bwMode="auto">
          <a:xfrm rot="2379495">
            <a:off x="8184348" y="2080014"/>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3" name="Moon 152"/>
          <p:cNvSpPr/>
          <p:nvPr/>
        </p:nvSpPr>
        <p:spPr bwMode="auto">
          <a:xfrm rot="2379495">
            <a:off x="7193460" y="1927614"/>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4" name="Moon 153"/>
          <p:cNvSpPr/>
          <p:nvPr/>
        </p:nvSpPr>
        <p:spPr bwMode="auto">
          <a:xfrm rot="2379495">
            <a:off x="6412830" y="2022861"/>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5" name="Moon 154"/>
          <p:cNvSpPr/>
          <p:nvPr/>
        </p:nvSpPr>
        <p:spPr bwMode="auto">
          <a:xfrm rot="2379495">
            <a:off x="5268978" y="1927614"/>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6" name="Moon 155"/>
          <p:cNvSpPr/>
          <p:nvPr/>
        </p:nvSpPr>
        <p:spPr bwMode="auto">
          <a:xfrm rot="2379495">
            <a:off x="5421378" y="2080014"/>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7" name="Moon 156"/>
          <p:cNvSpPr/>
          <p:nvPr/>
        </p:nvSpPr>
        <p:spPr bwMode="auto">
          <a:xfrm rot="2379495">
            <a:off x="7652020" y="2041923"/>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8" name="Moon 157"/>
          <p:cNvSpPr/>
          <p:nvPr/>
        </p:nvSpPr>
        <p:spPr bwMode="auto">
          <a:xfrm rot="2379495">
            <a:off x="9061715" y="1908569"/>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9" name="Moon 158"/>
          <p:cNvSpPr/>
          <p:nvPr/>
        </p:nvSpPr>
        <p:spPr bwMode="auto">
          <a:xfrm rot="2379495">
            <a:off x="8909099" y="1946156"/>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0" name="Moon 159"/>
          <p:cNvSpPr/>
          <p:nvPr/>
        </p:nvSpPr>
        <p:spPr bwMode="auto">
          <a:xfrm rot="2379495">
            <a:off x="9061499" y="2098556"/>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1" name="Moon 160"/>
          <p:cNvSpPr/>
          <p:nvPr/>
        </p:nvSpPr>
        <p:spPr bwMode="auto">
          <a:xfrm rot="2379495">
            <a:off x="8070611" y="1946156"/>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2" name="Moon 161"/>
          <p:cNvSpPr/>
          <p:nvPr/>
        </p:nvSpPr>
        <p:spPr bwMode="auto">
          <a:xfrm rot="2379495">
            <a:off x="7289981" y="2041403"/>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3" name="Moon 162"/>
          <p:cNvSpPr/>
          <p:nvPr/>
        </p:nvSpPr>
        <p:spPr bwMode="auto">
          <a:xfrm rot="2379495">
            <a:off x="6146129" y="1946156"/>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4" name="Moon 163"/>
          <p:cNvSpPr/>
          <p:nvPr/>
        </p:nvSpPr>
        <p:spPr bwMode="auto">
          <a:xfrm rot="1503666">
            <a:off x="6044174" y="2112076"/>
            <a:ext cx="480915" cy="1357799"/>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5" name="Moon 164"/>
          <p:cNvSpPr/>
          <p:nvPr/>
        </p:nvSpPr>
        <p:spPr bwMode="auto">
          <a:xfrm rot="2379495">
            <a:off x="9558587" y="2099052"/>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Moon 165"/>
          <p:cNvSpPr/>
          <p:nvPr/>
        </p:nvSpPr>
        <p:spPr bwMode="auto">
          <a:xfrm rot="2379495">
            <a:off x="10968282" y="1965698"/>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7" name="Moon 166"/>
          <p:cNvSpPr/>
          <p:nvPr/>
        </p:nvSpPr>
        <p:spPr bwMode="auto">
          <a:xfrm rot="2379495">
            <a:off x="10815666" y="2003285"/>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8" name="Moon 167"/>
          <p:cNvSpPr/>
          <p:nvPr/>
        </p:nvSpPr>
        <p:spPr bwMode="auto">
          <a:xfrm rot="2379495">
            <a:off x="10968066" y="2155685"/>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9" name="Moon 168"/>
          <p:cNvSpPr/>
          <p:nvPr/>
        </p:nvSpPr>
        <p:spPr bwMode="auto">
          <a:xfrm rot="2379495">
            <a:off x="9977178" y="2003285"/>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Moon 169"/>
          <p:cNvSpPr/>
          <p:nvPr/>
        </p:nvSpPr>
        <p:spPr bwMode="auto">
          <a:xfrm rot="2379495">
            <a:off x="9196548" y="2098532"/>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Moon 170"/>
          <p:cNvSpPr/>
          <p:nvPr/>
        </p:nvSpPr>
        <p:spPr bwMode="auto">
          <a:xfrm rot="2379495">
            <a:off x="8052696" y="2003285"/>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Moon 171"/>
          <p:cNvSpPr/>
          <p:nvPr/>
        </p:nvSpPr>
        <p:spPr bwMode="auto">
          <a:xfrm rot="2379495">
            <a:off x="8205096" y="2155685"/>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3" name="Moon 172"/>
          <p:cNvSpPr/>
          <p:nvPr/>
        </p:nvSpPr>
        <p:spPr bwMode="auto">
          <a:xfrm rot="2379495">
            <a:off x="10435738" y="2117594"/>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4" name="Moon 173"/>
          <p:cNvSpPr/>
          <p:nvPr/>
        </p:nvSpPr>
        <p:spPr bwMode="auto">
          <a:xfrm rot="2379495">
            <a:off x="11845433" y="1984240"/>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Moon 174"/>
          <p:cNvSpPr/>
          <p:nvPr/>
        </p:nvSpPr>
        <p:spPr bwMode="auto">
          <a:xfrm rot="2379495">
            <a:off x="11692817" y="2021827"/>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Moon 175"/>
          <p:cNvSpPr/>
          <p:nvPr/>
        </p:nvSpPr>
        <p:spPr bwMode="auto">
          <a:xfrm rot="2379495">
            <a:off x="11845217" y="2174227"/>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Moon 176"/>
          <p:cNvSpPr/>
          <p:nvPr/>
        </p:nvSpPr>
        <p:spPr bwMode="auto">
          <a:xfrm rot="2379495">
            <a:off x="10854329" y="2021827"/>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8" name="Moon 177"/>
          <p:cNvSpPr/>
          <p:nvPr/>
        </p:nvSpPr>
        <p:spPr bwMode="auto">
          <a:xfrm rot="2379495">
            <a:off x="10073699" y="2117074"/>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9" name="Moon 178"/>
          <p:cNvSpPr/>
          <p:nvPr/>
        </p:nvSpPr>
        <p:spPr bwMode="auto">
          <a:xfrm rot="2379495">
            <a:off x="8929847" y="2021827"/>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0" name="Moon 179"/>
          <p:cNvSpPr/>
          <p:nvPr/>
        </p:nvSpPr>
        <p:spPr bwMode="auto">
          <a:xfrm rot="2379495">
            <a:off x="9082247" y="2174227"/>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Moon 180"/>
          <p:cNvSpPr/>
          <p:nvPr/>
        </p:nvSpPr>
        <p:spPr bwMode="auto">
          <a:xfrm rot="17850672">
            <a:off x="5325126" y="2601601"/>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2" name="Moon 181"/>
          <p:cNvSpPr/>
          <p:nvPr/>
        </p:nvSpPr>
        <p:spPr bwMode="auto">
          <a:xfrm rot="17850672">
            <a:off x="5858525" y="2601601"/>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Moon 182"/>
          <p:cNvSpPr/>
          <p:nvPr/>
        </p:nvSpPr>
        <p:spPr bwMode="auto">
          <a:xfrm rot="17850672">
            <a:off x="5325127" y="2754513"/>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4" name="Moon 183"/>
          <p:cNvSpPr/>
          <p:nvPr/>
        </p:nvSpPr>
        <p:spPr bwMode="auto">
          <a:xfrm rot="17850672">
            <a:off x="6226940" y="2645221"/>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5" name="Moon 184"/>
          <p:cNvSpPr/>
          <p:nvPr/>
        </p:nvSpPr>
        <p:spPr bwMode="auto">
          <a:xfrm rot="17850672">
            <a:off x="6760339" y="2645221"/>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6" name="Moon 185"/>
          <p:cNvSpPr/>
          <p:nvPr/>
        </p:nvSpPr>
        <p:spPr bwMode="auto">
          <a:xfrm rot="17850672">
            <a:off x="6226941" y="2798133"/>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Moon 186"/>
          <p:cNvSpPr/>
          <p:nvPr/>
        </p:nvSpPr>
        <p:spPr bwMode="auto">
          <a:xfrm rot="17850672">
            <a:off x="6928389" y="2699867"/>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8" name="Moon 187"/>
          <p:cNvSpPr/>
          <p:nvPr/>
        </p:nvSpPr>
        <p:spPr bwMode="auto">
          <a:xfrm rot="17850672">
            <a:off x="7461788" y="2699867"/>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Moon 188"/>
          <p:cNvSpPr/>
          <p:nvPr/>
        </p:nvSpPr>
        <p:spPr bwMode="auto">
          <a:xfrm rot="17850672">
            <a:off x="6928390" y="2852779"/>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0" name="Moon 189"/>
          <p:cNvSpPr/>
          <p:nvPr/>
        </p:nvSpPr>
        <p:spPr bwMode="auto">
          <a:xfrm rot="17850672">
            <a:off x="6758805" y="252488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1" name="Moon 190"/>
          <p:cNvSpPr/>
          <p:nvPr/>
        </p:nvSpPr>
        <p:spPr bwMode="auto">
          <a:xfrm rot="17850672">
            <a:off x="7127220" y="2568508"/>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2" name="Moon 191"/>
          <p:cNvSpPr/>
          <p:nvPr/>
        </p:nvSpPr>
        <p:spPr bwMode="auto">
          <a:xfrm rot="17850672">
            <a:off x="7660619" y="256850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3" name="Moon 192"/>
          <p:cNvSpPr/>
          <p:nvPr/>
        </p:nvSpPr>
        <p:spPr bwMode="auto">
          <a:xfrm rot="17850672">
            <a:off x="7127221" y="2721420"/>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4" name="Moon 193"/>
          <p:cNvSpPr/>
          <p:nvPr/>
        </p:nvSpPr>
        <p:spPr bwMode="auto">
          <a:xfrm rot="17850672">
            <a:off x="7828669" y="2623154"/>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5" name="Moon 194"/>
          <p:cNvSpPr/>
          <p:nvPr/>
        </p:nvSpPr>
        <p:spPr bwMode="auto">
          <a:xfrm rot="17850672">
            <a:off x="8362068" y="2623154"/>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Moon 195"/>
          <p:cNvSpPr/>
          <p:nvPr/>
        </p:nvSpPr>
        <p:spPr bwMode="auto">
          <a:xfrm rot="17850672">
            <a:off x="7828670" y="2776066"/>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7" name="Moon 196"/>
          <p:cNvSpPr/>
          <p:nvPr/>
        </p:nvSpPr>
        <p:spPr bwMode="auto">
          <a:xfrm rot="17850672">
            <a:off x="6911205" y="267728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8" name="Moon 197"/>
          <p:cNvSpPr/>
          <p:nvPr/>
        </p:nvSpPr>
        <p:spPr bwMode="auto">
          <a:xfrm rot="17850672">
            <a:off x="7279620" y="2720908"/>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Moon 198"/>
          <p:cNvSpPr/>
          <p:nvPr/>
        </p:nvSpPr>
        <p:spPr bwMode="auto">
          <a:xfrm rot="17850672">
            <a:off x="7813019" y="272090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0" name="Moon 199"/>
          <p:cNvSpPr/>
          <p:nvPr/>
        </p:nvSpPr>
        <p:spPr bwMode="auto">
          <a:xfrm rot="17850672">
            <a:off x="7279621" y="2873820"/>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Moon 200"/>
          <p:cNvSpPr/>
          <p:nvPr/>
        </p:nvSpPr>
        <p:spPr bwMode="auto">
          <a:xfrm rot="17850672">
            <a:off x="7981069" y="2775554"/>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2" name="Moon 201"/>
          <p:cNvSpPr/>
          <p:nvPr/>
        </p:nvSpPr>
        <p:spPr bwMode="auto">
          <a:xfrm rot="17850672">
            <a:off x="8514468" y="2775554"/>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Moon 202"/>
          <p:cNvSpPr/>
          <p:nvPr/>
        </p:nvSpPr>
        <p:spPr bwMode="auto">
          <a:xfrm rot="17850672">
            <a:off x="7981070" y="2928466"/>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4" name="Moon 203"/>
          <p:cNvSpPr/>
          <p:nvPr/>
        </p:nvSpPr>
        <p:spPr bwMode="auto">
          <a:xfrm rot="17850672">
            <a:off x="5980649" y="2546954"/>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5" name="Moon 204"/>
          <p:cNvSpPr/>
          <p:nvPr/>
        </p:nvSpPr>
        <p:spPr bwMode="auto">
          <a:xfrm rot="17850672">
            <a:off x="6133049" y="2699354"/>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6" name="Moon 205"/>
          <p:cNvSpPr/>
          <p:nvPr/>
        </p:nvSpPr>
        <p:spPr bwMode="auto">
          <a:xfrm rot="17850672">
            <a:off x="8528760" y="2655735"/>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7" name="Moon 206"/>
          <p:cNvSpPr/>
          <p:nvPr/>
        </p:nvSpPr>
        <p:spPr bwMode="auto">
          <a:xfrm rot="17850672">
            <a:off x="9062159" y="2655735"/>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8" name="Moon 207"/>
          <p:cNvSpPr/>
          <p:nvPr/>
        </p:nvSpPr>
        <p:spPr bwMode="auto">
          <a:xfrm rot="17850672">
            <a:off x="8528761" y="2808647"/>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9" name="Moon 208"/>
          <p:cNvSpPr/>
          <p:nvPr/>
        </p:nvSpPr>
        <p:spPr bwMode="auto">
          <a:xfrm rot="17850672">
            <a:off x="9430574" y="2699355"/>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0" name="Moon 209"/>
          <p:cNvSpPr/>
          <p:nvPr/>
        </p:nvSpPr>
        <p:spPr bwMode="auto">
          <a:xfrm rot="17850672">
            <a:off x="9430575" y="2852267"/>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1" name="Moon 210"/>
          <p:cNvSpPr/>
          <p:nvPr/>
        </p:nvSpPr>
        <p:spPr bwMode="auto">
          <a:xfrm rot="17850672">
            <a:off x="9184283" y="260108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2" name="Moon 211"/>
          <p:cNvSpPr/>
          <p:nvPr/>
        </p:nvSpPr>
        <p:spPr bwMode="auto">
          <a:xfrm rot="17850672">
            <a:off x="9336683" y="275348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3" name="Moon 212"/>
          <p:cNvSpPr/>
          <p:nvPr/>
        </p:nvSpPr>
        <p:spPr bwMode="auto">
          <a:xfrm rot="17850672">
            <a:off x="8728951" y="2492536"/>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Moon 213"/>
          <p:cNvSpPr/>
          <p:nvPr/>
        </p:nvSpPr>
        <p:spPr bwMode="auto">
          <a:xfrm rot="17850672">
            <a:off x="9097366" y="2536156"/>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5" name="Moon 214"/>
          <p:cNvSpPr/>
          <p:nvPr/>
        </p:nvSpPr>
        <p:spPr bwMode="auto">
          <a:xfrm rot="17850672">
            <a:off x="9630765" y="2536156"/>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6" name="Moon 215"/>
          <p:cNvSpPr/>
          <p:nvPr/>
        </p:nvSpPr>
        <p:spPr bwMode="auto">
          <a:xfrm rot="17850672">
            <a:off x="9097367" y="2689068"/>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7" name="Moon 216"/>
          <p:cNvSpPr/>
          <p:nvPr/>
        </p:nvSpPr>
        <p:spPr bwMode="auto">
          <a:xfrm rot="17850672">
            <a:off x="9003475" y="2590289"/>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8" name="Moon 217"/>
          <p:cNvSpPr/>
          <p:nvPr/>
        </p:nvSpPr>
        <p:spPr bwMode="auto">
          <a:xfrm rot="17850672">
            <a:off x="2441942" y="2437655"/>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9" name="Moon 218"/>
          <p:cNvSpPr/>
          <p:nvPr/>
        </p:nvSpPr>
        <p:spPr bwMode="auto">
          <a:xfrm rot="17850672">
            <a:off x="2810357" y="2481275"/>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0" name="Moon 219"/>
          <p:cNvSpPr/>
          <p:nvPr/>
        </p:nvSpPr>
        <p:spPr bwMode="auto">
          <a:xfrm rot="17850672">
            <a:off x="3343756" y="2481275"/>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1" name="Moon 220"/>
          <p:cNvSpPr/>
          <p:nvPr/>
        </p:nvSpPr>
        <p:spPr bwMode="auto">
          <a:xfrm rot="17850672">
            <a:off x="2810358" y="2634187"/>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2" name="Moon 221"/>
          <p:cNvSpPr/>
          <p:nvPr/>
        </p:nvSpPr>
        <p:spPr bwMode="auto">
          <a:xfrm rot="17850672">
            <a:off x="3511806" y="2535921"/>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3" name="Moon 222"/>
          <p:cNvSpPr/>
          <p:nvPr/>
        </p:nvSpPr>
        <p:spPr bwMode="auto">
          <a:xfrm rot="17850672">
            <a:off x="4045205" y="2535921"/>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4" name="Moon 223"/>
          <p:cNvSpPr/>
          <p:nvPr/>
        </p:nvSpPr>
        <p:spPr bwMode="auto">
          <a:xfrm rot="17850672">
            <a:off x="3710638" y="2557474"/>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5" name="Moon 224"/>
          <p:cNvSpPr/>
          <p:nvPr/>
        </p:nvSpPr>
        <p:spPr bwMode="auto">
          <a:xfrm rot="17850672">
            <a:off x="4412086" y="2459208"/>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6" name="Moon 225"/>
          <p:cNvSpPr/>
          <p:nvPr/>
        </p:nvSpPr>
        <p:spPr bwMode="auto">
          <a:xfrm rot="17850672">
            <a:off x="4945485" y="245920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7" name="Moon 226"/>
          <p:cNvSpPr/>
          <p:nvPr/>
        </p:nvSpPr>
        <p:spPr bwMode="auto">
          <a:xfrm rot="17850672">
            <a:off x="4412087" y="2612120"/>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8" name="Moon 227"/>
          <p:cNvSpPr/>
          <p:nvPr/>
        </p:nvSpPr>
        <p:spPr bwMode="auto">
          <a:xfrm rot="17850672">
            <a:off x="3494622" y="2513342"/>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9" name="Moon 228"/>
          <p:cNvSpPr/>
          <p:nvPr/>
        </p:nvSpPr>
        <p:spPr bwMode="auto">
          <a:xfrm rot="17850672">
            <a:off x="3863037" y="2556962"/>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0" name="Moon 229"/>
          <p:cNvSpPr/>
          <p:nvPr/>
        </p:nvSpPr>
        <p:spPr bwMode="auto">
          <a:xfrm rot="17850672">
            <a:off x="4396436" y="2556962"/>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1" name="Moon 230"/>
          <p:cNvSpPr/>
          <p:nvPr/>
        </p:nvSpPr>
        <p:spPr bwMode="auto">
          <a:xfrm rot="17850672">
            <a:off x="4564486" y="2611608"/>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2" name="Moon 231"/>
          <p:cNvSpPr/>
          <p:nvPr/>
        </p:nvSpPr>
        <p:spPr bwMode="auto">
          <a:xfrm rot="17850672">
            <a:off x="5097885" y="261160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3" name="Moon 232"/>
          <p:cNvSpPr/>
          <p:nvPr/>
        </p:nvSpPr>
        <p:spPr bwMode="auto">
          <a:xfrm rot="17850672">
            <a:off x="2716466" y="253540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4" name="Moon 233"/>
          <p:cNvSpPr/>
          <p:nvPr/>
        </p:nvSpPr>
        <p:spPr bwMode="auto">
          <a:xfrm rot="17850672">
            <a:off x="5112177" y="2491789"/>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5" name="Moon 234"/>
          <p:cNvSpPr/>
          <p:nvPr/>
        </p:nvSpPr>
        <p:spPr bwMode="auto">
          <a:xfrm rot="17850672">
            <a:off x="5645576" y="2491789"/>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6" name="Moon 235"/>
          <p:cNvSpPr/>
          <p:nvPr/>
        </p:nvSpPr>
        <p:spPr bwMode="auto">
          <a:xfrm rot="17850672">
            <a:off x="5112178" y="2644701"/>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7" name="Moon 236"/>
          <p:cNvSpPr/>
          <p:nvPr/>
        </p:nvSpPr>
        <p:spPr bwMode="auto">
          <a:xfrm rot="17850672">
            <a:off x="6013991" y="2535409"/>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Moon 237"/>
          <p:cNvSpPr/>
          <p:nvPr/>
        </p:nvSpPr>
        <p:spPr bwMode="auto">
          <a:xfrm rot="17850672">
            <a:off x="6547390" y="2535409"/>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9" name="Moon 238"/>
          <p:cNvSpPr/>
          <p:nvPr/>
        </p:nvSpPr>
        <p:spPr bwMode="auto">
          <a:xfrm rot="17850672">
            <a:off x="6715440" y="2590055"/>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Moon 239"/>
          <p:cNvSpPr/>
          <p:nvPr/>
        </p:nvSpPr>
        <p:spPr bwMode="auto">
          <a:xfrm rot="17850672">
            <a:off x="7248839" y="2590055"/>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Moon 240"/>
          <p:cNvSpPr/>
          <p:nvPr/>
        </p:nvSpPr>
        <p:spPr bwMode="auto">
          <a:xfrm rot="17850672">
            <a:off x="6914271" y="2458696"/>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Moon 241"/>
          <p:cNvSpPr/>
          <p:nvPr/>
        </p:nvSpPr>
        <p:spPr bwMode="auto">
          <a:xfrm rot="17850672">
            <a:off x="7447670" y="2458696"/>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Moon 242"/>
          <p:cNvSpPr/>
          <p:nvPr/>
        </p:nvSpPr>
        <p:spPr bwMode="auto">
          <a:xfrm rot="17850672">
            <a:off x="6914272" y="2611608"/>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Moon 243"/>
          <p:cNvSpPr/>
          <p:nvPr/>
        </p:nvSpPr>
        <p:spPr bwMode="auto">
          <a:xfrm rot="17850672">
            <a:off x="7615720" y="2513342"/>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Moon 244"/>
          <p:cNvSpPr/>
          <p:nvPr/>
        </p:nvSpPr>
        <p:spPr bwMode="auto">
          <a:xfrm rot="17850672">
            <a:off x="8149119" y="2513342"/>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Moon 245"/>
          <p:cNvSpPr/>
          <p:nvPr/>
        </p:nvSpPr>
        <p:spPr bwMode="auto">
          <a:xfrm rot="17850672">
            <a:off x="7615721" y="2666254"/>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Moon 246"/>
          <p:cNvSpPr/>
          <p:nvPr/>
        </p:nvSpPr>
        <p:spPr bwMode="auto">
          <a:xfrm rot="17850672">
            <a:off x="6698256" y="2567476"/>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Moon 247"/>
          <p:cNvSpPr/>
          <p:nvPr/>
        </p:nvSpPr>
        <p:spPr bwMode="auto">
          <a:xfrm rot="17850672">
            <a:off x="7066671" y="2611096"/>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9" name="Moon 248"/>
          <p:cNvSpPr/>
          <p:nvPr/>
        </p:nvSpPr>
        <p:spPr bwMode="auto">
          <a:xfrm rot="17850672">
            <a:off x="7600070" y="2611096"/>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0" name="Moon 249"/>
          <p:cNvSpPr/>
          <p:nvPr/>
        </p:nvSpPr>
        <p:spPr bwMode="auto">
          <a:xfrm rot="17850672">
            <a:off x="7768120" y="2665742"/>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1" name="Moon 250"/>
          <p:cNvSpPr/>
          <p:nvPr/>
        </p:nvSpPr>
        <p:spPr bwMode="auto">
          <a:xfrm rot="17850672">
            <a:off x="8301519" y="2665742"/>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2" name="Moon 251"/>
          <p:cNvSpPr/>
          <p:nvPr/>
        </p:nvSpPr>
        <p:spPr bwMode="auto">
          <a:xfrm rot="17850672">
            <a:off x="5767700" y="2437142"/>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3" name="Moon 252"/>
          <p:cNvSpPr/>
          <p:nvPr/>
        </p:nvSpPr>
        <p:spPr bwMode="auto">
          <a:xfrm rot="17850672">
            <a:off x="5920100" y="2589542"/>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Moon 282"/>
          <p:cNvSpPr/>
          <p:nvPr/>
        </p:nvSpPr>
        <p:spPr bwMode="auto">
          <a:xfrm rot="17850672">
            <a:off x="10459631" y="3461868"/>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4" name="Moon 283"/>
          <p:cNvSpPr/>
          <p:nvPr/>
        </p:nvSpPr>
        <p:spPr bwMode="auto">
          <a:xfrm rot="17850672">
            <a:off x="10993030" y="346186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5" name="Moon 284"/>
          <p:cNvSpPr/>
          <p:nvPr/>
        </p:nvSpPr>
        <p:spPr bwMode="auto">
          <a:xfrm rot="17850672">
            <a:off x="10459632" y="3614780"/>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6" name="Moon 285"/>
          <p:cNvSpPr/>
          <p:nvPr/>
        </p:nvSpPr>
        <p:spPr bwMode="auto">
          <a:xfrm rot="17850672">
            <a:off x="11361445" y="3505488"/>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7" name="Moon 286"/>
          <p:cNvSpPr/>
          <p:nvPr/>
        </p:nvSpPr>
        <p:spPr bwMode="auto">
          <a:xfrm rot="17850672">
            <a:off x="11894844" y="350548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8" name="Moon 287"/>
          <p:cNvSpPr/>
          <p:nvPr/>
        </p:nvSpPr>
        <p:spPr bwMode="auto">
          <a:xfrm rot="17850672">
            <a:off x="11361446" y="3658400"/>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9" name="Moon 288"/>
          <p:cNvSpPr/>
          <p:nvPr/>
        </p:nvSpPr>
        <p:spPr bwMode="auto">
          <a:xfrm rot="17850672">
            <a:off x="12062894" y="3560134"/>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0" name="Moon 289"/>
          <p:cNvSpPr/>
          <p:nvPr/>
        </p:nvSpPr>
        <p:spPr bwMode="auto">
          <a:xfrm rot="17850672">
            <a:off x="12596293" y="3560134"/>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1" name="Moon 290"/>
          <p:cNvSpPr/>
          <p:nvPr/>
        </p:nvSpPr>
        <p:spPr bwMode="auto">
          <a:xfrm rot="17850672">
            <a:off x="12062895" y="3713046"/>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2" name="Moon 291"/>
          <p:cNvSpPr/>
          <p:nvPr/>
        </p:nvSpPr>
        <p:spPr bwMode="auto">
          <a:xfrm rot="17850672">
            <a:off x="11893310" y="3385155"/>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3" name="Moon 292"/>
          <p:cNvSpPr/>
          <p:nvPr/>
        </p:nvSpPr>
        <p:spPr bwMode="auto">
          <a:xfrm rot="17850672">
            <a:off x="12261725" y="3428775"/>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4" name="Moon 293"/>
          <p:cNvSpPr/>
          <p:nvPr/>
        </p:nvSpPr>
        <p:spPr bwMode="auto">
          <a:xfrm rot="17850672">
            <a:off x="12795124" y="3428775"/>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5" name="Moon 294"/>
          <p:cNvSpPr/>
          <p:nvPr/>
        </p:nvSpPr>
        <p:spPr bwMode="auto">
          <a:xfrm rot="17850672">
            <a:off x="12261726" y="3581687"/>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6" name="Moon 295"/>
          <p:cNvSpPr/>
          <p:nvPr/>
        </p:nvSpPr>
        <p:spPr bwMode="auto">
          <a:xfrm rot="17850672">
            <a:off x="12963174" y="3483421"/>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7" name="Moon 296"/>
          <p:cNvSpPr/>
          <p:nvPr/>
        </p:nvSpPr>
        <p:spPr bwMode="auto">
          <a:xfrm rot="17850672">
            <a:off x="13496573" y="3483421"/>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8" name="Moon 297"/>
          <p:cNvSpPr/>
          <p:nvPr/>
        </p:nvSpPr>
        <p:spPr bwMode="auto">
          <a:xfrm rot="17850672">
            <a:off x="12963175" y="3636333"/>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9" name="Moon 298"/>
          <p:cNvSpPr/>
          <p:nvPr/>
        </p:nvSpPr>
        <p:spPr bwMode="auto">
          <a:xfrm rot="17850672">
            <a:off x="12045710" y="3537555"/>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0" name="Moon 299"/>
          <p:cNvSpPr/>
          <p:nvPr/>
        </p:nvSpPr>
        <p:spPr bwMode="auto">
          <a:xfrm rot="17850672">
            <a:off x="12414125" y="3581175"/>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1" name="Moon 300"/>
          <p:cNvSpPr/>
          <p:nvPr/>
        </p:nvSpPr>
        <p:spPr bwMode="auto">
          <a:xfrm rot="17850672">
            <a:off x="12947524" y="3581175"/>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2" name="Moon 301"/>
          <p:cNvSpPr/>
          <p:nvPr/>
        </p:nvSpPr>
        <p:spPr bwMode="auto">
          <a:xfrm rot="17850672">
            <a:off x="12414126" y="3734087"/>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3" name="Moon 302"/>
          <p:cNvSpPr/>
          <p:nvPr/>
        </p:nvSpPr>
        <p:spPr bwMode="auto">
          <a:xfrm rot="17850672">
            <a:off x="13115574" y="3635821"/>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4" name="Moon 303"/>
          <p:cNvSpPr/>
          <p:nvPr/>
        </p:nvSpPr>
        <p:spPr bwMode="auto">
          <a:xfrm rot="17850672">
            <a:off x="13648973" y="3635821"/>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5" name="Moon 304"/>
          <p:cNvSpPr/>
          <p:nvPr/>
        </p:nvSpPr>
        <p:spPr bwMode="auto">
          <a:xfrm rot="17850672">
            <a:off x="13115575" y="3788733"/>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6" name="Moon 305"/>
          <p:cNvSpPr/>
          <p:nvPr/>
        </p:nvSpPr>
        <p:spPr bwMode="auto">
          <a:xfrm rot="17850672">
            <a:off x="11115154" y="3407221"/>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7" name="Moon 306"/>
          <p:cNvSpPr/>
          <p:nvPr/>
        </p:nvSpPr>
        <p:spPr bwMode="auto">
          <a:xfrm rot="17850672">
            <a:off x="11267554" y="3559621"/>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8" name="Moon 307"/>
          <p:cNvSpPr/>
          <p:nvPr/>
        </p:nvSpPr>
        <p:spPr bwMode="auto">
          <a:xfrm rot="17850672">
            <a:off x="13663265" y="3516002"/>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9" name="Moon 308"/>
          <p:cNvSpPr/>
          <p:nvPr/>
        </p:nvSpPr>
        <p:spPr bwMode="auto">
          <a:xfrm rot="17850672">
            <a:off x="14196664" y="3516002"/>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0" name="Moon 309"/>
          <p:cNvSpPr/>
          <p:nvPr/>
        </p:nvSpPr>
        <p:spPr bwMode="auto">
          <a:xfrm rot="17850672">
            <a:off x="13663266" y="3668914"/>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1" name="Moon 310"/>
          <p:cNvSpPr/>
          <p:nvPr/>
        </p:nvSpPr>
        <p:spPr bwMode="auto">
          <a:xfrm rot="17850672">
            <a:off x="14565079" y="3559622"/>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2" name="Moon 311"/>
          <p:cNvSpPr/>
          <p:nvPr/>
        </p:nvSpPr>
        <p:spPr bwMode="auto">
          <a:xfrm rot="17850672">
            <a:off x="14565080" y="3712534"/>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3" name="Moon 312"/>
          <p:cNvSpPr/>
          <p:nvPr/>
        </p:nvSpPr>
        <p:spPr bwMode="auto">
          <a:xfrm rot="17850672">
            <a:off x="14318788" y="3461355"/>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4" name="Moon 313"/>
          <p:cNvSpPr/>
          <p:nvPr/>
        </p:nvSpPr>
        <p:spPr bwMode="auto">
          <a:xfrm rot="17850672">
            <a:off x="14471188" y="3613755"/>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5" name="Moon 314"/>
          <p:cNvSpPr/>
          <p:nvPr/>
        </p:nvSpPr>
        <p:spPr bwMode="auto">
          <a:xfrm rot="17850672">
            <a:off x="13863456" y="3352803"/>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6" name="Moon 315"/>
          <p:cNvSpPr/>
          <p:nvPr/>
        </p:nvSpPr>
        <p:spPr bwMode="auto">
          <a:xfrm rot="17850672">
            <a:off x="14231871" y="3396423"/>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7" name="Moon 316"/>
          <p:cNvSpPr/>
          <p:nvPr/>
        </p:nvSpPr>
        <p:spPr bwMode="auto">
          <a:xfrm rot="17850672">
            <a:off x="14765270" y="3396423"/>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8" name="Moon 317"/>
          <p:cNvSpPr/>
          <p:nvPr/>
        </p:nvSpPr>
        <p:spPr bwMode="auto">
          <a:xfrm rot="17850672">
            <a:off x="14231872" y="3549335"/>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9" name="Moon 318"/>
          <p:cNvSpPr/>
          <p:nvPr/>
        </p:nvSpPr>
        <p:spPr bwMode="auto">
          <a:xfrm rot="17850672">
            <a:off x="14137980" y="3450556"/>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0" name="Moon 319"/>
          <p:cNvSpPr/>
          <p:nvPr/>
        </p:nvSpPr>
        <p:spPr bwMode="auto">
          <a:xfrm rot="17850672">
            <a:off x="7576447" y="3297922"/>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1" name="Moon 320"/>
          <p:cNvSpPr/>
          <p:nvPr/>
        </p:nvSpPr>
        <p:spPr bwMode="auto">
          <a:xfrm rot="17850672">
            <a:off x="7944862" y="3341542"/>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2" name="Moon 321"/>
          <p:cNvSpPr/>
          <p:nvPr/>
        </p:nvSpPr>
        <p:spPr bwMode="auto">
          <a:xfrm rot="17850672">
            <a:off x="8478261" y="3341542"/>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3" name="Moon 322"/>
          <p:cNvSpPr/>
          <p:nvPr/>
        </p:nvSpPr>
        <p:spPr bwMode="auto">
          <a:xfrm rot="17850672">
            <a:off x="7944863" y="3494454"/>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4" name="Moon 323"/>
          <p:cNvSpPr/>
          <p:nvPr/>
        </p:nvSpPr>
        <p:spPr bwMode="auto">
          <a:xfrm rot="17850672">
            <a:off x="8646311" y="3396188"/>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5" name="Moon 324"/>
          <p:cNvSpPr/>
          <p:nvPr/>
        </p:nvSpPr>
        <p:spPr bwMode="auto">
          <a:xfrm rot="17850672">
            <a:off x="9179710" y="339618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6" name="Moon 325"/>
          <p:cNvSpPr/>
          <p:nvPr/>
        </p:nvSpPr>
        <p:spPr bwMode="auto">
          <a:xfrm rot="17850672">
            <a:off x="8845143" y="3417741"/>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7" name="Moon 326"/>
          <p:cNvSpPr/>
          <p:nvPr/>
        </p:nvSpPr>
        <p:spPr bwMode="auto">
          <a:xfrm rot="17850672">
            <a:off x="9546591" y="3319475"/>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8" name="Moon 327"/>
          <p:cNvSpPr/>
          <p:nvPr/>
        </p:nvSpPr>
        <p:spPr bwMode="auto">
          <a:xfrm rot="17850672">
            <a:off x="10079990" y="3319475"/>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9" name="Moon 328"/>
          <p:cNvSpPr/>
          <p:nvPr/>
        </p:nvSpPr>
        <p:spPr bwMode="auto">
          <a:xfrm rot="17850672">
            <a:off x="9546592" y="3472387"/>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0" name="Moon 329"/>
          <p:cNvSpPr/>
          <p:nvPr/>
        </p:nvSpPr>
        <p:spPr bwMode="auto">
          <a:xfrm rot="17850672">
            <a:off x="8629127" y="3373609"/>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1" name="Moon 330"/>
          <p:cNvSpPr/>
          <p:nvPr/>
        </p:nvSpPr>
        <p:spPr bwMode="auto">
          <a:xfrm rot="17850672">
            <a:off x="8997542" y="3417229"/>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2" name="Moon 331"/>
          <p:cNvSpPr/>
          <p:nvPr/>
        </p:nvSpPr>
        <p:spPr bwMode="auto">
          <a:xfrm rot="17850672">
            <a:off x="9530941" y="3417229"/>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3" name="Moon 332"/>
          <p:cNvSpPr/>
          <p:nvPr/>
        </p:nvSpPr>
        <p:spPr bwMode="auto">
          <a:xfrm rot="17850672">
            <a:off x="9698991" y="3471875"/>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4" name="Moon 333"/>
          <p:cNvSpPr/>
          <p:nvPr/>
        </p:nvSpPr>
        <p:spPr bwMode="auto">
          <a:xfrm rot="17850672">
            <a:off x="10232390" y="3471875"/>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5" name="Moon 334"/>
          <p:cNvSpPr/>
          <p:nvPr/>
        </p:nvSpPr>
        <p:spPr bwMode="auto">
          <a:xfrm rot="17850672">
            <a:off x="7850971" y="3395675"/>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6" name="Moon 335"/>
          <p:cNvSpPr/>
          <p:nvPr/>
        </p:nvSpPr>
        <p:spPr bwMode="auto">
          <a:xfrm rot="17850672">
            <a:off x="10246682" y="3352056"/>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7" name="Moon 336"/>
          <p:cNvSpPr/>
          <p:nvPr/>
        </p:nvSpPr>
        <p:spPr bwMode="auto">
          <a:xfrm rot="17850672">
            <a:off x="10780081" y="3352056"/>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8" name="Moon 337"/>
          <p:cNvSpPr/>
          <p:nvPr/>
        </p:nvSpPr>
        <p:spPr bwMode="auto">
          <a:xfrm rot="17850672">
            <a:off x="10246683" y="3504968"/>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9" name="Moon 338"/>
          <p:cNvSpPr/>
          <p:nvPr/>
        </p:nvSpPr>
        <p:spPr bwMode="auto">
          <a:xfrm rot="17850672">
            <a:off x="11148496" y="3395676"/>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0" name="Moon 339"/>
          <p:cNvSpPr/>
          <p:nvPr/>
        </p:nvSpPr>
        <p:spPr bwMode="auto">
          <a:xfrm rot="17850672">
            <a:off x="11681895" y="3395676"/>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1" name="Moon 340"/>
          <p:cNvSpPr/>
          <p:nvPr/>
        </p:nvSpPr>
        <p:spPr bwMode="auto">
          <a:xfrm rot="17850672">
            <a:off x="11849945" y="3450322"/>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2" name="Moon 341"/>
          <p:cNvSpPr/>
          <p:nvPr/>
        </p:nvSpPr>
        <p:spPr bwMode="auto">
          <a:xfrm rot="17850672">
            <a:off x="12383344" y="3450322"/>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3" name="Moon 342"/>
          <p:cNvSpPr/>
          <p:nvPr/>
        </p:nvSpPr>
        <p:spPr bwMode="auto">
          <a:xfrm rot="17850672">
            <a:off x="12048776" y="3318963"/>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4" name="Moon 343"/>
          <p:cNvSpPr/>
          <p:nvPr/>
        </p:nvSpPr>
        <p:spPr bwMode="auto">
          <a:xfrm rot="17850672">
            <a:off x="12582175" y="3318963"/>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5" name="Moon 344"/>
          <p:cNvSpPr/>
          <p:nvPr/>
        </p:nvSpPr>
        <p:spPr bwMode="auto">
          <a:xfrm rot="17850672">
            <a:off x="12048777" y="3471875"/>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6" name="Moon 345"/>
          <p:cNvSpPr/>
          <p:nvPr/>
        </p:nvSpPr>
        <p:spPr bwMode="auto">
          <a:xfrm rot="17850672">
            <a:off x="12750225" y="3373609"/>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7" name="Moon 346"/>
          <p:cNvSpPr/>
          <p:nvPr/>
        </p:nvSpPr>
        <p:spPr bwMode="auto">
          <a:xfrm rot="17850672">
            <a:off x="13283624" y="3373609"/>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8" name="Moon 347"/>
          <p:cNvSpPr/>
          <p:nvPr/>
        </p:nvSpPr>
        <p:spPr bwMode="auto">
          <a:xfrm rot="17850672">
            <a:off x="12750226" y="3526521"/>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9" name="Moon 348"/>
          <p:cNvSpPr/>
          <p:nvPr/>
        </p:nvSpPr>
        <p:spPr bwMode="auto">
          <a:xfrm rot="17850672">
            <a:off x="11832761" y="3427743"/>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0" name="Moon 349"/>
          <p:cNvSpPr/>
          <p:nvPr/>
        </p:nvSpPr>
        <p:spPr bwMode="auto">
          <a:xfrm rot="17850672">
            <a:off x="12201176" y="3471363"/>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1" name="Moon 350"/>
          <p:cNvSpPr/>
          <p:nvPr/>
        </p:nvSpPr>
        <p:spPr bwMode="auto">
          <a:xfrm rot="17850672">
            <a:off x="12734575" y="3471363"/>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2" name="Moon 351"/>
          <p:cNvSpPr/>
          <p:nvPr/>
        </p:nvSpPr>
        <p:spPr bwMode="auto">
          <a:xfrm rot="17850672">
            <a:off x="12902625" y="3526009"/>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3" name="Moon 352"/>
          <p:cNvSpPr/>
          <p:nvPr/>
        </p:nvSpPr>
        <p:spPr bwMode="auto">
          <a:xfrm rot="17850672">
            <a:off x="13436024" y="3526009"/>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4" name="Moon 353"/>
          <p:cNvSpPr/>
          <p:nvPr/>
        </p:nvSpPr>
        <p:spPr bwMode="auto">
          <a:xfrm rot="17850672">
            <a:off x="10902205" y="3297409"/>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5" name="Moon 354"/>
          <p:cNvSpPr/>
          <p:nvPr/>
        </p:nvSpPr>
        <p:spPr bwMode="auto">
          <a:xfrm rot="17850672">
            <a:off x="11054605" y="3449809"/>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6" name="Moon 355"/>
          <p:cNvSpPr/>
          <p:nvPr/>
        </p:nvSpPr>
        <p:spPr bwMode="auto">
          <a:xfrm rot="17850672">
            <a:off x="1260885" y="2964997"/>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7" name="Moon 356"/>
          <p:cNvSpPr/>
          <p:nvPr/>
        </p:nvSpPr>
        <p:spPr bwMode="auto">
          <a:xfrm rot="17850672">
            <a:off x="1794284" y="2964997"/>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8" name="Moon 357"/>
          <p:cNvSpPr/>
          <p:nvPr/>
        </p:nvSpPr>
        <p:spPr bwMode="auto">
          <a:xfrm rot="17850672">
            <a:off x="1260886" y="3117909"/>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9" name="Moon 358"/>
          <p:cNvSpPr/>
          <p:nvPr/>
        </p:nvSpPr>
        <p:spPr bwMode="auto">
          <a:xfrm rot="17850672">
            <a:off x="2162699" y="3008617"/>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0" name="Moon 359"/>
          <p:cNvSpPr/>
          <p:nvPr/>
        </p:nvSpPr>
        <p:spPr bwMode="auto">
          <a:xfrm rot="17850672">
            <a:off x="2696098" y="3008617"/>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1" name="Moon 360"/>
          <p:cNvSpPr/>
          <p:nvPr/>
        </p:nvSpPr>
        <p:spPr bwMode="auto">
          <a:xfrm rot="17850672">
            <a:off x="2162700" y="3161529"/>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2" name="Moon 361"/>
          <p:cNvSpPr/>
          <p:nvPr/>
        </p:nvSpPr>
        <p:spPr bwMode="auto">
          <a:xfrm rot="17850672">
            <a:off x="2864148" y="3063263"/>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3" name="Moon 362"/>
          <p:cNvSpPr/>
          <p:nvPr/>
        </p:nvSpPr>
        <p:spPr bwMode="auto">
          <a:xfrm rot="17850672">
            <a:off x="3397547" y="3063263"/>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4" name="Moon 363"/>
          <p:cNvSpPr/>
          <p:nvPr/>
        </p:nvSpPr>
        <p:spPr bwMode="auto">
          <a:xfrm rot="17850672">
            <a:off x="2864149" y="3216175"/>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5" name="Moon 364"/>
          <p:cNvSpPr/>
          <p:nvPr/>
        </p:nvSpPr>
        <p:spPr bwMode="auto">
          <a:xfrm rot="17850672">
            <a:off x="2694564" y="2888284"/>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6" name="Moon 365"/>
          <p:cNvSpPr/>
          <p:nvPr/>
        </p:nvSpPr>
        <p:spPr bwMode="auto">
          <a:xfrm rot="17850672">
            <a:off x="3062979" y="2931904"/>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7" name="Moon 366"/>
          <p:cNvSpPr/>
          <p:nvPr/>
        </p:nvSpPr>
        <p:spPr bwMode="auto">
          <a:xfrm rot="17850672">
            <a:off x="3596378" y="2931904"/>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8" name="Moon 367"/>
          <p:cNvSpPr/>
          <p:nvPr/>
        </p:nvSpPr>
        <p:spPr bwMode="auto">
          <a:xfrm rot="17850672">
            <a:off x="3062980" y="3084816"/>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9" name="Moon 368"/>
          <p:cNvSpPr/>
          <p:nvPr/>
        </p:nvSpPr>
        <p:spPr bwMode="auto">
          <a:xfrm rot="17850672">
            <a:off x="3764428" y="2986550"/>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0" name="Moon 369"/>
          <p:cNvSpPr/>
          <p:nvPr/>
        </p:nvSpPr>
        <p:spPr bwMode="auto">
          <a:xfrm rot="17850672">
            <a:off x="4297827" y="2986550"/>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1" name="Moon 370"/>
          <p:cNvSpPr/>
          <p:nvPr/>
        </p:nvSpPr>
        <p:spPr bwMode="auto">
          <a:xfrm rot="17850672">
            <a:off x="3764429" y="3139462"/>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2" name="Moon 371"/>
          <p:cNvSpPr/>
          <p:nvPr/>
        </p:nvSpPr>
        <p:spPr bwMode="auto">
          <a:xfrm rot="17850672">
            <a:off x="2846964" y="3040684"/>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3" name="Moon 372"/>
          <p:cNvSpPr/>
          <p:nvPr/>
        </p:nvSpPr>
        <p:spPr bwMode="auto">
          <a:xfrm rot="17850672">
            <a:off x="3215379" y="3084304"/>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4" name="Moon 373"/>
          <p:cNvSpPr/>
          <p:nvPr/>
        </p:nvSpPr>
        <p:spPr bwMode="auto">
          <a:xfrm rot="17850672">
            <a:off x="3748778" y="3084304"/>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5" name="Moon 374"/>
          <p:cNvSpPr/>
          <p:nvPr/>
        </p:nvSpPr>
        <p:spPr bwMode="auto">
          <a:xfrm rot="17850672">
            <a:off x="3215380" y="3237216"/>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6" name="Moon 375"/>
          <p:cNvSpPr/>
          <p:nvPr/>
        </p:nvSpPr>
        <p:spPr bwMode="auto">
          <a:xfrm rot="17850672">
            <a:off x="3916828" y="3138950"/>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7" name="Moon 376"/>
          <p:cNvSpPr/>
          <p:nvPr/>
        </p:nvSpPr>
        <p:spPr bwMode="auto">
          <a:xfrm rot="17850672">
            <a:off x="4450227" y="3138950"/>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8" name="Moon 377"/>
          <p:cNvSpPr/>
          <p:nvPr/>
        </p:nvSpPr>
        <p:spPr bwMode="auto">
          <a:xfrm rot="17850672">
            <a:off x="3916829" y="3291862"/>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9" name="Moon 378"/>
          <p:cNvSpPr/>
          <p:nvPr/>
        </p:nvSpPr>
        <p:spPr bwMode="auto">
          <a:xfrm rot="17850672">
            <a:off x="1916408" y="2910350"/>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0" name="Moon 379"/>
          <p:cNvSpPr/>
          <p:nvPr/>
        </p:nvSpPr>
        <p:spPr bwMode="auto">
          <a:xfrm rot="17850672">
            <a:off x="2068808" y="3062750"/>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1" name="Moon 380"/>
          <p:cNvSpPr/>
          <p:nvPr/>
        </p:nvSpPr>
        <p:spPr bwMode="auto">
          <a:xfrm rot="17850672">
            <a:off x="4464519" y="3019131"/>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2" name="Moon 381"/>
          <p:cNvSpPr/>
          <p:nvPr/>
        </p:nvSpPr>
        <p:spPr bwMode="auto">
          <a:xfrm rot="17850672">
            <a:off x="4997918" y="3019131"/>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3" name="Moon 382"/>
          <p:cNvSpPr/>
          <p:nvPr/>
        </p:nvSpPr>
        <p:spPr bwMode="auto">
          <a:xfrm rot="17850672">
            <a:off x="4464520" y="3172043"/>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4" name="Moon 383"/>
          <p:cNvSpPr/>
          <p:nvPr/>
        </p:nvSpPr>
        <p:spPr bwMode="auto">
          <a:xfrm rot="17850672">
            <a:off x="5366333" y="3062751"/>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5" name="Moon 384"/>
          <p:cNvSpPr/>
          <p:nvPr/>
        </p:nvSpPr>
        <p:spPr bwMode="auto">
          <a:xfrm rot="17850672">
            <a:off x="5366334" y="3215663"/>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6" name="Moon 385"/>
          <p:cNvSpPr/>
          <p:nvPr/>
        </p:nvSpPr>
        <p:spPr bwMode="auto">
          <a:xfrm rot="17850672">
            <a:off x="5120042" y="2964484"/>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7" name="Moon 386"/>
          <p:cNvSpPr/>
          <p:nvPr/>
        </p:nvSpPr>
        <p:spPr bwMode="auto">
          <a:xfrm rot="17850672">
            <a:off x="5272442" y="3116884"/>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8" name="Moon 387"/>
          <p:cNvSpPr/>
          <p:nvPr/>
        </p:nvSpPr>
        <p:spPr bwMode="auto">
          <a:xfrm rot="17850672">
            <a:off x="4664710" y="2855932"/>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9" name="Moon 388"/>
          <p:cNvSpPr/>
          <p:nvPr/>
        </p:nvSpPr>
        <p:spPr bwMode="auto">
          <a:xfrm rot="17850672">
            <a:off x="5033125" y="2899552"/>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0" name="Moon 389"/>
          <p:cNvSpPr/>
          <p:nvPr/>
        </p:nvSpPr>
        <p:spPr bwMode="auto">
          <a:xfrm rot="17850672">
            <a:off x="5566524" y="2899552"/>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1" name="Moon 390"/>
          <p:cNvSpPr/>
          <p:nvPr/>
        </p:nvSpPr>
        <p:spPr bwMode="auto">
          <a:xfrm rot="17850672">
            <a:off x="5033126" y="3052464"/>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2" name="Moon 391"/>
          <p:cNvSpPr/>
          <p:nvPr/>
        </p:nvSpPr>
        <p:spPr bwMode="auto">
          <a:xfrm rot="17850672">
            <a:off x="4939234" y="2953685"/>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3" name="Moon 392"/>
          <p:cNvSpPr/>
          <p:nvPr/>
        </p:nvSpPr>
        <p:spPr bwMode="auto">
          <a:xfrm rot="17850672">
            <a:off x="-1622299" y="2801051"/>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4" name="Moon 393"/>
          <p:cNvSpPr/>
          <p:nvPr/>
        </p:nvSpPr>
        <p:spPr bwMode="auto">
          <a:xfrm rot="17850672">
            <a:off x="-1253884" y="2844671"/>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5" name="Moon 394"/>
          <p:cNvSpPr/>
          <p:nvPr/>
        </p:nvSpPr>
        <p:spPr bwMode="auto">
          <a:xfrm rot="17850672">
            <a:off x="-720485" y="2844671"/>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6" name="Moon 395"/>
          <p:cNvSpPr/>
          <p:nvPr/>
        </p:nvSpPr>
        <p:spPr bwMode="auto">
          <a:xfrm rot="17850672">
            <a:off x="-1253883" y="2997583"/>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7" name="Moon 396"/>
          <p:cNvSpPr/>
          <p:nvPr/>
        </p:nvSpPr>
        <p:spPr bwMode="auto">
          <a:xfrm rot="17850672">
            <a:off x="-552435" y="2899317"/>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8" name="Moon 397"/>
          <p:cNvSpPr/>
          <p:nvPr/>
        </p:nvSpPr>
        <p:spPr bwMode="auto">
          <a:xfrm rot="17850672">
            <a:off x="-19036" y="2899317"/>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9" name="Moon 398"/>
          <p:cNvSpPr/>
          <p:nvPr/>
        </p:nvSpPr>
        <p:spPr bwMode="auto">
          <a:xfrm rot="17850672">
            <a:off x="-353603" y="2920870"/>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0" name="Moon 399"/>
          <p:cNvSpPr/>
          <p:nvPr/>
        </p:nvSpPr>
        <p:spPr bwMode="auto">
          <a:xfrm rot="17850672">
            <a:off x="347845" y="2822604"/>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1" name="Moon 400"/>
          <p:cNvSpPr/>
          <p:nvPr/>
        </p:nvSpPr>
        <p:spPr bwMode="auto">
          <a:xfrm rot="17850672">
            <a:off x="881244" y="2822604"/>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2" name="Moon 401"/>
          <p:cNvSpPr/>
          <p:nvPr/>
        </p:nvSpPr>
        <p:spPr bwMode="auto">
          <a:xfrm rot="17850672">
            <a:off x="347846" y="2975516"/>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3" name="Moon 402"/>
          <p:cNvSpPr/>
          <p:nvPr/>
        </p:nvSpPr>
        <p:spPr bwMode="auto">
          <a:xfrm rot="17850672">
            <a:off x="-569619" y="287673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4" name="Moon 403"/>
          <p:cNvSpPr/>
          <p:nvPr/>
        </p:nvSpPr>
        <p:spPr bwMode="auto">
          <a:xfrm rot="17850672">
            <a:off x="-201204" y="2920358"/>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5" name="Moon 404"/>
          <p:cNvSpPr/>
          <p:nvPr/>
        </p:nvSpPr>
        <p:spPr bwMode="auto">
          <a:xfrm rot="17850672">
            <a:off x="332195" y="292035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6" name="Moon 405"/>
          <p:cNvSpPr/>
          <p:nvPr/>
        </p:nvSpPr>
        <p:spPr bwMode="auto">
          <a:xfrm rot="17850672">
            <a:off x="500245" y="2975004"/>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7" name="Moon 406"/>
          <p:cNvSpPr/>
          <p:nvPr/>
        </p:nvSpPr>
        <p:spPr bwMode="auto">
          <a:xfrm rot="17850672">
            <a:off x="1033644" y="2975004"/>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8" name="Moon 407"/>
          <p:cNvSpPr/>
          <p:nvPr/>
        </p:nvSpPr>
        <p:spPr bwMode="auto">
          <a:xfrm rot="17850672">
            <a:off x="-1347775" y="2898804"/>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9" name="Moon 408"/>
          <p:cNvSpPr/>
          <p:nvPr/>
        </p:nvSpPr>
        <p:spPr bwMode="auto">
          <a:xfrm rot="17850672">
            <a:off x="1047936" y="2855185"/>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0" name="Moon 409"/>
          <p:cNvSpPr/>
          <p:nvPr/>
        </p:nvSpPr>
        <p:spPr bwMode="auto">
          <a:xfrm rot="17850672">
            <a:off x="1581335" y="2855185"/>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1" name="Moon 410"/>
          <p:cNvSpPr/>
          <p:nvPr/>
        </p:nvSpPr>
        <p:spPr bwMode="auto">
          <a:xfrm rot="17850672">
            <a:off x="1047937" y="3008097"/>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2" name="Moon 411"/>
          <p:cNvSpPr/>
          <p:nvPr/>
        </p:nvSpPr>
        <p:spPr bwMode="auto">
          <a:xfrm rot="17850672">
            <a:off x="1949750" y="2898805"/>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3" name="Moon 412"/>
          <p:cNvSpPr/>
          <p:nvPr/>
        </p:nvSpPr>
        <p:spPr bwMode="auto">
          <a:xfrm rot="17850672">
            <a:off x="2483149" y="2898805"/>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4" name="Moon 413"/>
          <p:cNvSpPr/>
          <p:nvPr/>
        </p:nvSpPr>
        <p:spPr bwMode="auto">
          <a:xfrm rot="17850672">
            <a:off x="2651199" y="2953451"/>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5" name="Moon 414"/>
          <p:cNvSpPr/>
          <p:nvPr/>
        </p:nvSpPr>
        <p:spPr bwMode="auto">
          <a:xfrm rot="17850672">
            <a:off x="3184598" y="2953451"/>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6" name="Moon 415"/>
          <p:cNvSpPr/>
          <p:nvPr/>
        </p:nvSpPr>
        <p:spPr bwMode="auto">
          <a:xfrm rot="17850672">
            <a:off x="2850030" y="2822092"/>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7" name="Moon 416"/>
          <p:cNvSpPr/>
          <p:nvPr/>
        </p:nvSpPr>
        <p:spPr bwMode="auto">
          <a:xfrm rot="17850672">
            <a:off x="3383429" y="2822092"/>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8" name="Moon 417"/>
          <p:cNvSpPr/>
          <p:nvPr/>
        </p:nvSpPr>
        <p:spPr bwMode="auto">
          <a:xfrm rot="17850672">
            <a:off x="2850031" y="2975004"/>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9" name="Moon 418"/>
          <p:cNvSpPr/>
          <p:nvPr/>
        </p:nvSpPr>
        <p:spPr bwMode="auto">
          <a:xfrm rot="17850672">
            <a:off x="3551479" y="2876738"/>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0" name="Moon 419"/>
          <p:cNvSpPr/>
          <p:nvPr/>
        </p:nvSpPr>
        <p:spPr bwMode="auto">
          <a:xfrm rot="17850672">
            <a:off x="4084878" y="287673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1" name="Moon 420"/>
          <p:cNvSpPr/>
          <p:nvPr/>
        </p:nvSpPr>
        <p:spPr bwMode="auto">
          <a:xfrm rot="17850672">
            <a:off x="3551480" y="3029650"/>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2" name="Moon 421"/>
          <p:cNvSpPr/>
          <p:nvPr/>
        </p:nvSpPr>
        <p:spPr bwMode="auto">
          <a:xfrm rot="17850672">
            <a:off x="2634015" y="2930872"/>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3" name="Moon 422"/>
          <p:cNvSpPr/>
          <p:nvPr/>
        </p:nvSpPr>
        <p:spPr bwMode="auto">
          <a:xfrm rot="17850672">
            <a:off x="3002430" y="2974492"/>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4" name="Moon 423"/>
          <p:cNvSpPr/>
          <p:nvPr/>
        </p:nvSpPr>
        <p:spPr bwMode="auto">
          <a:xfrm rot="17850672">
            <a:off x="3535829" y="2974492"/>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5" name="Moon 424"/>
          <p:cNvSpPr/>
          <p:nvPr/>
        </p:nvSpPr>
        <p:spPr bwMode="auto">
          <a:xfrm rot="17850672">
            <a:off x="3703879" y="3029138"/>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Moon 425"/>
          <p:cNvSpPr/>
          <p:nvPr/>
        </p:nvSpPr>
        <p:spPr bwMode="auto">
          <a:xfrm rot="17850672">
            <a:off x="4237278" y="302913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7" name="Moon 426"/>
          <p:cNvSpPr/>
          <p:nvPr/>
        </p:nvSpPr>
        <p:spPr bwMode="auto">
          <a:xfrm rot="17850672">
            <a:off x="1703459" y="280053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8" name="Moon 427"/>
          <p:cNvSpPr/>
          <p:nvPr/>
        </p:nvSpPr>
        <p:spPr bwMode="auto">
          <a:xfrm rot="17850672">
            <a:off x="1855859" y="295293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38" name="Group 437"/>
          <p:cNvGrpSpPr/>
          <p:nvPr/>
        </p:nvGrpSpPr>
        <p:grpSpPr>
          <a:xfrm>
            <a:off x="993953" y="2744106"/>
            <a:ext cx="3983923" cy="2807919"/>
            <a:chOff x="-5559201" y="-2322803"/>
            <a:chExt cx="3983923" cy="2807919"/>
          </a:xfrm>
          <a:solidFill>
            <a:schemeClr val="tx1"/>
          </a:solidFill>
        </p:grpSpPr>
        <p:sp>
          <p:nvSpPr>
            <p:cNvPr id="441" name="Rounded Rectangle 440"/>
            <p:cNvSpPr/>
            <p:nvPr/>
          </p:nvSpPr>
          <p:spPr bwMode="auto">
            <a:xfrm rot="1723980">
              <a:off x="-4917937" y="-1779481"/>
              <a:ext cx="2497901" cy="1699181"/>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2" name="Heart 131"/>
            <p:cNvSpPr/>
            <p:nvPr/>
          </p:nvSpPr>
          <p:spPr bwMode="auto">
            <a:xfrm rot="7165596">
              <a:off x="-5532771" y="-2349233"/>
              <a:ext cx="1649696" cy="1702556"/>
            </a:xfrm>
            <a:prstGeom prst="hear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3" name="Heart 442"/>
            <p:cNvSpPr/>
            <p:nvPr/>
          </p:nvSpPr>
          <p:spPr bwMode="auto">
            <a:xfrm rot="17595860">
              <a:off x="-3251404" y="-1191010"/>
              <a:ext cx="1649696" cy="1702556"/>
            </a:xfrm>
            <a:prstGeom prst="hear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54" name="Group 453"/>
          <p:cNvGrpSpPr/>
          <p:nvPr/>
        </p:nvGrpSpPr>
        <p:grpSpPr>
          <a:xfrm>
            <a:off x="6709237" y="4077147"/>
            <a:ext cx="3983923" cy="2807919"/>
            <a:chOff x="-5559201" y="-2322803"/>
            <a:chExt cx="3983923" cy="2807919"/>
          </a:xfrm>
          <a:solidFill>
            <a:schemeClr val="bg1">
              <a:lumMod val="95000"/>
            </a:schemeClr>
          </a:solidFill>
        </p:grpSpPr>
        <p:sp>
          <p:nvSpPr>
            <p:cNvPr id="455" name="Rounded Rectangle 454"/>
            <p:cNvSpPr/>
            <p:nvPr/>
          </p:nvSpPr>
          <p:spPr bwMode="auto">
            <a:xfrm rot="1723980">
              <a:off x="-4917937" y="-1779481"/>
              <a:ext cx="2497901" cy="1699181"/>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56" name="Heart 455"/>
            <p:cNvSpPr/>
            <p:nvPr/>
          </p:nvSpPr>
          <p:spPr bwMode="auto">
            <a:xfrm rot="7165596">
              <a:off x="-5532771" y="-2349233"/>
              <a:ext cx="1649696" cy="1702556"/>
            </a:xfrm>
            <a:prstGeom prst="hear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57" name="Heart 456"/>
            <p:cNvSpPr/>
            <p:nvPr/>
          </p:nvSpPr>
          <p:spPr bwMode="auto">
            <a:xfrm rot="17595860">
              <a:off x="-3251404" y="-1191010"/>
              <a:ext cx="1649696" cy="1702556"/>
            </a:xfrm>
            <a:prstGeom prst="hear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44" name="Group 443"/>
          <p:cNvGrpSpPr/>
          <p:nvPr/>
        </p:nvGrpSpPr>
        <p:grpSpPr>
          <a:xfrm>
            <a:off x="1491048" y="1831299"/>
            <a:ext cx="2584661" cy="2610517"/>
            <a:chOff x="1491048" y="1831299"/>
            <a:chExt cx="2584661" cy="2610517"/>
          </a:xfrm>
        </p:grpSpPr>
        <p:sp>
          <p:nvSpPr>
            <p:cNvPr id="446" name="Oval 445"/>
            <p:cNvSpPr/>
            <p:nvPr/>
          </p:nvSpPr>
          <p:spPr bwMode="auto">
            <a:xfrm>
              <a:off x="2090136" y="1831299"/>
              <a:ext cx="885586" cy="79478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47" name="Straight Connector 446"/>
            <p:cNvCxnSpPr/>
            <p:nvPr/>
          </p:nvCxnSpPr>
          <p:spPr>
            <a:xfrm flipV="1">
              <a:off x="1491048" y="2738124"/>
              <a:ext cx="1041042" cy="410143"/>
            </a:xfrm>
            <a:prstGeom prst="line">
              <a:avLst/>
            </a:prstGeom>
            <a:ln w="1778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8" name="Straight Connector 447"/>
            <p:cNvCxnSpPr/>
            <p:nvPr/>
          </p:nvCxnSpPr>
          <p:spPr>
            <a:xfrm flipV="1">
              <a:off x="2556589" y="2604845"/>
              <a:ext cx="1519120" cy="133279"/>
            </a:xfrm>
            <a:prstGeom prst="line">
              <a:avLst/>
            </a:prstGeom>
            <a:ln w="1778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9" name="Straight Connector 448"/>
            <p:cNvCxnSpPr/>
            <p:nvPr/>
          </p:nvCxnSpPr>
          <p:spPr>
            <a:xfrm>
              <a:off x="2556589" y="2738124"/>
              <a:ext cx="696097" cy="794780"/>
            </a:xfrm>
            <a:prstGeom prst="line">
              <a:avLst/>
            </a:prstGeom>
            <a:ln w="1778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0" name="Straight Connector 449"/>
            <p:cNvCxnSpPr/>
            <p:nvPr/>
          </p:nvCxnSpPr>
          <p:spPr>
            <a:xfrm flipV="1">
              <a:off x="2556589" y="3532905"/>
              <a:ext cx="696097" cy="335041"/>
            </a:xfrm>
            <a:prstGeom prst="line">
              <a:avLst/>
            </a:prstGeom>
            <a:ln w="1778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1" name="Straight Connector 450"/>
            <p:cNvCxnSpPr/>
            <p:nvPr/>
          </p:nvCxnSpPr>
          <p:spPr>
            <a:xfrm flipH="1">
              <a:off x="2999382" y="3562904"/>
              <a:ext cx="253305" cy="515385"/>
            </a:xfrm>
            <a:prstGeom prst="line">
              <a:avLst/>
            </a:prstGeom>
            <a:ln w="1778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2" name="Straight Connector 451"/>
            <p:cNvCxnSpPr/>
            <p:nvPr/>
          </p:nvCxnSpPr>
          <p:spPr>
            <a:xfrm flipH="1" flipV="1">
              <a:off x="2556589" y="3867945"/>
              <a:ext cx="160276" cy="421116"/>
            </a:xfrm>
            <a:prstGeom prst="line">
              <a:avLst/>
            </a:prstGeom>
            <a:ln w="1778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3" name="Straight Connector 452"/>
            <p:cNvCxnSpPr/>
            <p:nvPr/>
          </p:nvCxnSpPr>
          <p:spPr>
            <a:xfrm flipH="1" flipV="1">
              <a:off x="3014586" y="4059543"/>
              <a:ext cx="160275" cy="382273"/>
            </a:xfrm>
            <a:prstGeom prst="line">
              <a:avLst/>
            </a:prstGeom>
            <a:ln w="1778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0" name="Oval 439"/>
            <p:cNvSpPr/>
            <p:nvPr/>
          </p:nvSpPr>
          <p:spPr bwMode="auto">
            <a:xfrm>
              <a:off x="2426025" y="2612558"/>
              <a:ext cx="367741" cy="294968"/>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59" name="Oval 458"/>
            <p:cNvSpPr/>
            <p:nvPr/>
          </p:nvSpPr>
          <p:spPr bwMode="auto">
            <a:xfrm>
              <a:off x="3045061" y="3415821"/>
              <a:ext cx="323439" cy="259433"/>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60" name="Oval 459"/>
          <p:cNvSpPr/>
          <p:nvPr/>
        </p:nvSpPr>
        <p:spPr bwMode="auto">
          <a:xfrm>
            <a:off x="2465801" y="3760814"/>
            <a:ext cx="231211" cy="185456"/>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1" name="Oval 460"/>
          <p:cNvSpPr/>
          <p:nvPr/>
        </p:nvSpPr>
        <p:spPr bwMode="auto">
          <a:xfrm>
            <a:off x="2905490" y="3996944"/>
            <a:ext cx="231211" cy="154841"/>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73" name="Group 472"/>
          <p:cNvGrpSpPr/>
          <p:nvPr/>
        </p:nvGrpSpPr>
        <p:grpSpPr>
          <a:xfrm>
            <a:off x="7263038" y="2974088"/>
            <a:ext cx="2584661" cy="2610517"/>
            <a:chOff x="1491048" y="1831299"/>
            <a:chExt cx="2584661" cy="2610517"/>
          </a:xfrm>
        </p:grpSpPr>
        <p:sp>
          <p:nvSpPr>
            <p:cNvPr id="474" name="Oval 473"/>
            <p:cNvSpPr/>
            <p:nvPr/>
          </p:nvSpPr>
          <p:spPr bwMode="auto">
            <a:xfrm>
              <a:off x="2090136" y="1831299"/>
              <a:ext cx="885586" cy="79478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75" name="Straight Connector 474"/>
            <p:cNvCxnSpPr/>
            <p:nvPr/>
          </p:nvCxnSpPr>
          <p:spPr>
            <a:xfrm flipV="1">
              <a:off x="1491048" y="2738124"/>
              <a:ext cx="1041042" cy="410143"/>
            </a:xfrm>
            <a:prstGeom prst="line">
              <a:avLst/>
            </a:prstGeom>
            <a:ln w="1778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6" name="Straight Connector 475"/>
            <p:cNvCxnSpPr/>
            <p:nvPr/>
          </p:nvCxnSpPr>
          <p:spPr>
            <a:xfrm flipV="1">
              <a:off x="2556589" y="2604845"/>
              <a:ext cx="1519120" cy="133279"/>
            </a:xfrm>
            <a:prstGeom prst="line">
              <a:avLst/>
            </a:prstGeom>
            <a:ln w="1778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7" name="Straight Connector 476"/>
            <p:cNvCxnSpPr/>
            <p:nvPr/>
          </p:nvCxnSpPr>
          <p:spPr>
            <a:xfrm>
              <a:off x="2556589" y="2738124"/>
              <a:ext cx="696097" cy="794780"/>
            </a:xfrm>
            <a:prstGeom prst="line">
              <a:avLst/>
            </a:prstGeom>
            <a:ln w="1778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8" name="Straight Connector 477"/>
            <p:cNvCxnSpPr/>
            <p:nvPr/>
          </p:nvCxnSpPr>
          <p:spPr>
            <a:xfrm flipV="1">
              <a:off x="2556589" y="3532905"/>
              <a:ext cx="696097" cy="335041"/>
            </a:xfrm>
            <a:prstGeom prst="line">
              <a:avLst/>
            </a:prstGeom>
            <a:ln w="1778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9" name="Straight Connector 478"/>
            <p:cNvCxnSpPr/>
            <p:nvPr/>
          </p:nvCxnSpPr>
          <p:spPr>
            <a:xfrm flipH="1">
              <a:off x="2999382" y="3562904"/>
              <a:ext cx="253305" cy="515385"/>
            </a:xfrm>
            <a:prstGeom prst="line">
              <a:avLst/>
            </a:prstGeom>
            <a:ln w="1778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0" name="Straight Connector 479"/>
            <p:cNvCxnSpPr/>
            <p:nvPr/>
          </p:nvCxnSpPr>
          <p:spPr>
            <a:xfrm flipH="1" flipV="1">
              <a:off x="2556589" y="3867945"/>
              <a:ext cx="160276" cy="421116"/>
            </a:xfrm>
            <a:prstGeom prst="line">
              <a:avLst/>
            </a:prstGeom>
            <a:ln w="1778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1" name="Straight Connector 480"/>
            <p:cNvCxnSpPr/>
            <p:nvPr/>
          </p:nvCxnSpPr>
          <p:spPr>
            <a:xfrm flipH="1" flipV="1">
              <a:off x="3014586" y="4059543"/>
              <a:ext cx="160275" cy="382273"/>
            </a:xfrm>
            <a:prstGeom prst="line">
              <a:avLst/>
            </a:prstGeom>
            <a:ln w="1778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2" name="Oval 481"/>
            <p:cNvSpPr/>
            <p:nvPr/>
          </p:nvSpPr>
          <p:spPr bwMode="auto">
            <a:xfrm>
              <a:off x="2426025" y="2612558"/>
              <a:ext cx="367741" cy="294968"/>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83" name="Oval 482"/>
            <p:cNvSpPr/>
            <p:nvPr/>
          </p:nvSpPr>
          <p:spPr bwMode="auto">
            <a:xfrm>
              <a:off x="3045061" y="3415821"/>
              <a:ext cx="323439" cy="259433"/>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29" name="Oval 428"/>
          <p:cNvSpPr/>
          <p:nvPr/>
        </p:nvSpPr>
        <p:spPr bwMode="auto">
          <a:xfrm>
            <a:off x="8230742" y="4929865"/>
            <a:ext cx="231211" cy="185456"/>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0" name="Oval 429"/>
          <p:cNvSpPr/>
          <p:nvPr/>
        </p:nvSpPr>
        <p:spPr bwMode="auto">
          <a:xfrm>
            <a:off x="8670431" y="5165995"/>
            <a:ext cx="231211" cy="154841"/>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6875806"/>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Opportunities are vast</a:t>
            </a:r>
          </a:p>
        </p:txBody>
      </p:sp>
      <p:sp>
        <p:nvSpPr>
          <p:cNvPr id="6" name="Rectangle 10"/>
          <p:cNvSpPr/>
          <p:nvPr/>
        </p:nvSpPr>
        <p:spPr bwMode="auto">
          <a:xfrm>
            <a:off x="1295400" y="1475573"/>
            <a:ext cx="1809750" cy="1401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Risk Assessment</a:t>
            </a:r>
          </a:p>
        </p:txBody>
      </p:sp>
      <p:sp>
        <p:nvSpPr>
          <p:cNvPr id="7" name="Rectangle 19"/>
          <p:cNvSpPr/>
          <p:nvPr/>
        </p:nvSpPr>
        <p:spPr bwMode="auto">
          <a:xfrm>
            <a:off x="3281362" y="1475573"/>
            <a:ext cx="1809750" cy="1401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Data Gov. Policies</a:t>
            </a:r>
          </a:p>
        </p:txBody>
      </p:sp>
      <p:sp>
        <p:nvSpPr>
          <p:cNvPr id="8" name="Rectangle 20"/>
          <p:cNvSpPr/>
          <p:nvPr/>
        </p:nvSpPr>
        <p:spPr bwMode="auto">
          <a:xfrm>
            <a:off x="5267324" y="1484943"/>
            <a:ext cx="1809750" cy="1401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Audits</a:t>
            </a:r>
          </a:p>
        </p:txBody>
      </p:sp>
      <p:sp>
        <p:nvSpPr>
          <p:cNvPr id="9" name="TextBox 21"/>
          <p:cNvSpPr txBox="1"/>
          <p:nvPr/>
        </p:nvSpPr>
        <p:spPr>
          <a:xfrm rot="16200000">
            <a:off x="-90487" y="1862453"/>
            <a:ext cx="2114550"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tx1">
                    <a:lumMod val="60000"/>
                    <a:lumOff val="40000"/>
                  </a:schemeClr>
                </a:solidFill>
              </a:rPr>
              <a:t>Protection</a:t>
            </a:r>
          </a:p>
        </p:txBody>
      </p:sp>
      <p:sp>
        <p:nvSpPr>
          <p:cNvPr id="10" name="TextBox 22"/>
          <p:cNvSpPr txBox="1"/>
          <p:nvPr/>
        </p:nvSpPr>
        <p:spPr>
          <a:xfrm rot="16200000">
            <a:off x="-105168" y="3714294"/>
            <a:ext cx="2114550"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tx1">
                    <a:lumMod val="60000"/>
                    <a:lumOff val="40000"/>
                  </a:schemeClr>
                </a:solidFill>
              </a:rPr>
              <a:t>Detection</a:t>
            </a:r>
          </a:p>
        </p:txBody>
      </p:sp>
      <p:sp>
        <p:nvSpPr>
          <p:cNvPr id="12" name="TextBox 23"/>
          <p:cNvSpPr txBox="1"/>
          <p:nvPr/>
        </p:nvSpPr>
        <p:spPr>
          <a:xfrm rot="16200000">
            <a:off x="-90487" y="5451835"/>
            <a:ext cx="2114550"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tx1">
                    <a:lumMod val="60000"/>
                    <a:lumOff val="40000"/>
                  </a:schemeClr>
                </a:solidFill>
              </a:rPr>
              <a:t>Response</a:t>
            </a:r>
          </a:p>
        </p:txBody>
      </p:sp>
      <p:sp>
        <p:nvSpPr>
          <p:cNvPr id="13" name="Rectangle 24"/>
          <p:cNvSpPr/>
          <p:nvPr/>
        </p:nvSpPr>
        <p:spPr bwMode="auto">
          <a:xfrm>
            <a:off x="1295400" y="3233660"/>
            <a:ext cx="1809750" cy="140162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tx1">
                    <a:lumMod val="75000"/>
                  </a:schemeClr>
                </a:solidFill>
                <a:ea typeface="Segoe UI" pitchFamily="34" charset="0"/>
                <a:cs typeface="Segoe UI" pitchFamily="34" charset="0"/>
              </a:rPr>
              <a:t>Strong password policies</a:t>
            </a:r>
          </a:p>
        </p:txBody>
      </p:sp>
      <p:sp>
        <p:nvSpPr>
          <p:cNvPr id="14" name="Rectangle 25"/>
          <p:cNvSpPr/>
          <p:nvPr/>
        </p:nvSpPr>
        <p:spPr bwMode="auto">
          <a:xfrm>
            <a:off x="3281362" y="3233660"/>
            <a:ext cx="1809750" cy="140162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tx1">
                    <a:lumMod val="75000"/>
                  </a:schemeClr>
                </a:solidFill>
                <a:ea typeface="Segoe UI" pitchFamily="34" charset="0"/>
                <a:cs typeface="Segoe UI" pitchFamily="34" charset="0"/>
              </a:rPr>
              <a:t>Firewalls</a:t>
            </a:r>
          </a:p>
        </p:txBody>
      </p:sp>
      <p:sp>
        <p:nvSpPr>
          <p:cNvPr id="15" name="Rectangle 26"/>
          <p:cNvSpPr/>
          <p:nvPr/>
        </p:nvSpPr>
        <p:spPr bwMode="auto">
          <a:xfrm>
            <a:off x="5267324" y="3243030"/>
            <a:ext cx="1809750" cy="140162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tx1">
                    <a:lumMod val="75000"/>
                  </a:schemeClr>
                </a:solidFill>
                <a:ea typeface="Segoe UI" pitchFamily="34" charset="0"/>
                <a:cs typeface="Segoe UI" pitchFamily="34" charset="0"/>
              </a:rPr>
              <a:t>Network Segregation</a:t>
            </a:r>
          </a:p>
        </p:txBody>
      </p:sp>
      <p:sp>
        <p:nvSpPr>
          <p:cNvPr id="16" name="Rectangle 27"/>
          <p:cNvSpPr/>
          <p:nvPr/>
        </p:nvSpPr>
        <p:spPr bwMode="auto">
          <a:xfrm>
            <a:off x="1295400" y="5009301"/>
            <a:ext cx="1809750" cy="140162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Disaster Recover Plan</a:t>
            </a:r>
          </a:p>
        </p:txBody>
      </p:sp>
      <p:sp>
        <p:nvSpPr>
          <p:cNvPr id="17" name="Rectangle 28"/>
          <p:cNvSpPr/>
          <p:nvPr/>
        </p:nvSpPr>
        <p:spPr bwMode="auto">
          <a:xfrm>
            <a:off x="3281362" y="5009301"/>
            <a:ext cx="1809750" cy="140162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Rehearsed what to do</a:t>
            </a:r>
          </a:p>
        </p:txBody>
      </p:sp>
      <p:sp>
        <p:nvSpPr>
          <p:cNvPr id="18" name="Rectangle 29"/>
          <p:cNvSpPr/>
          <p:nvPr/>
        </p:nvSpPr>
        <p:spPr bwMode="auto">
          <a:xfrm>
            <a:off x="5267324" y="5018671"/>
            <a:ext cx="1809750" cy="140162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Insurance</a:t>
            </a:r>
          </a:p>
        </p:txBody>
      </p:sp>
      <p:sp>
        <p:nvSpPr>
          <p:cNvPr id="19" name="Rectangle 30"/>
          <p:cNvSpPr/>
          <p:nvPr/>
        </p:nvSpPr>
        <p:spPr bwMode="auto">
          <a:xfrm>
            <a:off x="7234236" y="3233660"/>
            <a:ext cx="1809750" cy="140162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tx1">
                    <a:lumMod val="75000"/>
                  </a:schemeClr>
                </a:solidFill>
                <a:ea typeface="Segoe UI" pitchFamily="34" charset="0"/>
                <a:cs typeface="Segoe UI" pitchFamily="34" charset="0"/>
              </a:rPr>
              <a:t>IT Operations Analytics</a:t>
            </a:r>
          </a:p>
        </p:txBody>
      </p:sp>
      <p:sp>
        <p:nvSpPr>
          <p:cNvPr id="20" name="Freeform 78"/>
          <p:cNvSpPr>
            <a:spLocks/>
          </p:cNvSpPr>
          <p:nvPr/>
        </p:nvSpPr>
        <p:spPr bwMode="auto">
          <a:xfrm>
            <a:off x="10453525" y="4633836"/>
            <a:ext cx="162165" cy="172625"/>
          </a:xfrm>
          <a:custGeom>
            <a:avLst/>
            <a:gdLst>
              <a:gd name="T0" fmla="*/ 0 w 26"/>
              <a:gd name="T1" fmla="*/ 0 h 28"/>
              <a:gd name="T2" fmla="*/ 0 w 26"/>
              <a:gd name="T3" fmla="*/ 16 h 28"/>
              <a:gd name="T4" fmla="*/ 13 w 26"/>
              <a:gd name="T5" fmla="*/ 28 h 28"/>
              <a:gd name="T6" fmla="*/ 26 w 26"/>
              <a:gd name="T7" fmla="*/ 16 h 28"/>
              <a:gd name="T8" fmla="*/ 26 w 26"/>
              <a:gd name="T9" fmla="*/ 0 h 28"/>
              <a:gd name="T10" fmla="*/ 0 w 26"/>
              <a:gd name="T11" fmla="*/ 0 h 28"/>
            </a:gdLst>
            <a:ahLst/>
            <a:cxnLst>
              <a:cxn ang="0">
                <a:pos x="T0" y="T1"/>
              </a:cxn>
              <a:cxn ang="0">
                <a:pos x="T2" y="T3"/>
              </a:cxn>
              <a:cxn ang="0">
                <a:pos x="T4" y="T5"/>
              </a:cxn>
              <a:cxn ang="0">
                <a:pos x="T6" y="T7"/>
              </a:cxn>
              <a:cxn ang="0">
                <a:pos x="T8" y="T9"/>
              </a:cxn>
              <a:cxn ang="0">
                <a:pos x="T10" y="T11"/>
              </a:cxn>
            </a:cxnLst>
            <a:rect l="0" t="0" r="r" b="b"/>
            <a:pathLst>
              <a:path w="26" h="28">
                <a:moveTo>
                  <a:pt x="0" y="0"/>
                </a:moveTo>
                <a:cubicBezTo>
                  <a:pt x="0" y="16"/>
                  <a:pt x="0" y="16"/>
                  <a:pt x="0" y="16"/>
                </a:cubicBezTo>
                <a:cubicBezTo>
                  <a:pt x="0" y="23"/>
                  <a:pt x="6" y="28"/>
                  <a:pt x="13" y="28"/>
                </a:cubicBezTo>
                <a:cubicBezTo>
                  <a:pt x="20" y="28"/>
                  <a:pt x="26" y="23"/>
                  <a:pt x="26" y="16"/>
                </a:cubicBezTo>
                <a:cubicBezTo>
                  <a:pt x="26" y="0"/>
                  <a:pt x="26" y="0"/>
                  <a:pt x="2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1" name="Freeform 67"/>
          <p:cNvSpPr>
            <a:spLocks/>
          </p:cNvSpPr>
          <p:nvPr/>
        </p:nvSpPr>
        <p:spPr bwMode="auto">
          <a:xfrm>
            <a:off x="10979249" y="3208362"/>
            <a:ext cx="303403" cy="329559"/>
          </a:xfrm>
          <a:custGeom>
            <a:avLst/>
            <a:gdLst>
              <a:gd name="T0" fmla="*/ 0 w 116"/>
              <a:gd name="T1" fmla="*/ 12 h 126"/>
              <a:gd name="T2" fmla="*/ 12 w 116"/>
              <a:gd name="T3" fmla="*/ 0 h 126"/>
              <a:gd name="T4" fmla="*/ 104 w 116"/>
              <a:gd name="T5" fmla="*/ 0 h 126"/>
              <a:gd name="T6" fmla="*/ 116 w 116"/>
              <a:gd name="T7" fmla="*/ 12 h 126"/>
              <a:gd name="T8" fmla="*/ 85 w 116"/>
              <a:gd name="T9" fmla="*/ 116 h 126"/>
              <a:gd name="T10" fmla="*/ 43 w 116"/>
              <a:gd name="T11" fmla="*/ 126 h 126"/>
              <a:gd name="T12" fmla="*/ 7 w 116"/>
              <a:gd name="T13" fmla="*/ 76 h 126"/>
              <a:gd name="T14" fmla="*/ 0 w 116"/>
              <a:gd name="T15" fmla="*/ 12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26">
                <a:moveTo>
                  <a:pt x="0" y="12"/>
                </a:moveTo>
                <a:lnTo>
                  <a:pt x="12" y="0"/>
                </a:lnTo>
                <a:lnTo>
                  <a:pt x="104" y="0"/>
                </a:lnTo>
                <a:lnTo>
                  <a:pt x="116" y="12"/>
                </a:lnTo>
                <a:lnTo>
                  <a:pt x="85" y="116"/>
                </a:lnTo>
                <a:lnTo>
                  <a:pt x="43" y="126"/>
                </a:lnTo>
                <a:lnTo>
                  <a:pt x="7" y="76"/>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2" name="Freeform 68"/>
          <p:cNvSpPr>
            <a:spLocks/>
          </p:cNvSpPr>
          <p:nvPr/>
        </p:nvSpPr>
        <p:spPr bwMode="auto">
          <a:xfrm>
            <a:off x="10806621" y="6294707"/>
            <a:ext cx="303403" cy="154318"/>
          </a:xfrm>
          <a:custGeom>
            <a:avLst/>
            <a:gdLst>
              <a:gd name="T0" fmla="*/ 24 w 49"/>
              <a:gd name="T1" fmla="*/ 0 h 25"/>
              <a:gd name="T2" fmla="*/ 0 w 49"/>
              <a:gd name="T3" fmla="*/ 25 h 25"/>
              <a:gd name="T4" fmla="*/ 49 w 49"/>
              <a:gd name="T5" fmla="*/ 25 h 25"/>
              <a:gd name="T6" fmla="*/ 24 w 49"/>
              <a:gd name="T7" fmla="*/ 0 h 25"/>
            </a:gdLst>
            <a:ahLst/>
            <a:cxnLst>
              <a:cxn ang="0">
                <a:pos x="T0" y="T1"/>
              </a:cxn>
              <a:cxn ang="0">
                <a:pos x="T2" y="T3"/>
              </a:cxn>
              <a:cxn ang="0">
                <a:pos x="T4" y="T5"/>
              </a:cxn>
              <a:cxn ang="0">
                <a:pos x="T6" y="T7"/>
              </a:cxn>
            </a:cxnLst>
            <a:rect l="0" t="0" r="r" b="b"/>
            <a:pathLst>
              <a:path w="49" h="25">
                <a:moveTo>
                  <a:pt x="24" y="0"/>
                </a:moveTo>
                <a:cubicBezTo>
                  <a:pt x="11" y="0"/>
                  <a:pt x="0" y="11"/>
                  <a:pt x="0" y="25"/>
                </a:cubicBezTo>
                <a:cubicBezTo>
                  <a:pt x="49" y="25"/>
                  <a:pt x="49" y="25"/>
                  <a:pt x="49" y="25"/>
                </a:cubicBezTo>
                <a:cubicBezTo>
                  <a:pt x="49" y="11"/>
                  <a:pt x="38" y="0"/>
                  <a:pt x="2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3" name="Freeform 69"/>
          <p:cNvSpPr>
            <a:spLocks/>
          </p:cNvSpPr>
          <p:nvPr/>
        </p:nvSpPr>
        <p:spPr bwMode="auto">
          <a:xfrm>
            <a:off x="10762159" y="4652142"/>
            <a:ext cx="389718" cy="1671336"/>
          </a:xfrm>
          <a:custGeom>
            <a:avLst/>
            <a:gdLst>
              <a:gd name="T0" fmla="*/ 116 w 149"/>
              <a:gd name="T1" fmla="*/ 639 h 639"/>
              <a:gd name="T2" fmla="*/ 29 w 149"/>
              <a:gd name="T3" fmla="*/ 639 h 639"/>
              <a:gd name="T4" fmla="*/ 0 w 149"/>
              <a:gd name="T5" fmla="*/ 0 h 639"/>
              <a:gd name="T6" fmla="*/ 149 w 149"/>
              <a:gd name="T7" fmla="*/ 0 h 639"/>
              <a:gd name="T8" fmla="*/ 116 w 149"/>
              <a:gd name="T9" fmla="*/ 639 h 639"/>
            </a:gdLst>
            <a:ahLst/>
            <a:cxnLst>
              <a:cxn ang="0">
                <a:pos x="T0" y="T1"/>
              </a:cxn>
              <a:cxn ang="0">
                <a:pos x="T2" y="T3"/>
              </a:cxn>
              <a:cxn ang="0">
                <a:pos x="T4" y="T5"/>
              </a:cxn>
              <a:cxn ang="0">
                <a:pos x="T6" y="T7"/>
              </a:cxn>
              <a:cxn ang="0">
                <a:pos x="T8" y="T9"/>
              </a:cxn>
            </a:cxnLst>
            <a:rect l="0" t="0" r="r" b="b"/>
            <a:pathLst>
              <a:path w="149" h="639">
                <a:moveTo>
                  <a:pt x="116" y="639"/>
                </a:moveTo>
                <a:lnTo>
                  <a:pt x="29" y="639"/>
                </a:lnTo>
                <a:lnTo>
                  <a:pt x="0" y="0"/>
                </a:lnTo>
                <a:lnTo>
                  <a:pt x="149" y="0"/>
                </a:lnTo>
                <a:lnTo>
                  <a:pt x="116" y="63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4" name="Freeform 70"/>
          <p:cNvSpPr>
            <a:spLocks/>
          </p:cNvSpPr>
          <p:nvPr/>
        </p:nvSpPr>
        <p:spPr bwMode="auto">
          <a:xfrm>
            <a:off x="11104796" y="4652142"/>
            <a:ext cx="389718" cy="1671336"/>
          </a:xfrm>
          <a:custGeom>
            <a:avLst/>
            <a:gdLst>
              <a:gd name="T0" fmla="*/ 120 w 149"/>
              <a:gd name="T1" fmla="*/ 639 h 639"/>
              <a:gd name="T2" fmla="*/ 33 w 149"/>
              <a:gd name="T3" fmla="*/ 639 h 639"/>
              <a:gd name="T4" fmla="*/ 0 w 149"/>
              <a:gd name="T5" fmla="*/ 0 h 639"/>
              <a:gd name="T6" fmla="*/ 149 w 149"/>
              <a:gd name="T7" fmla="*/ 0 h 639"/>
              <a:gd name="T8" fmla="*/ 120 w 149"/>
              <a:gd name="T9" fmla="*/ 639 h 639"/>
            </a:gdLst>
            <a:ahLst/>
            <a:cxnLst>
              <a:cxn ang="0">
                <a:pos x="T0" y="T1"/>
              </a:cxn>
              <a:cxn ang="0">
                <a:pos x="T2" y="T3"/>
              </a:cxn>
              <a:cxn ang="0">
                <a:pos x="T4" y="T5"/>
              </a:cxn>
              <a:cxn ang="0">
                <a:pos x="T6" y="T7"/>
              </a:cxn>
              <a:cxn ang="0">
                <a:pos x="T8" y="T9"/>
              </a:cxn>
            </a:cxnLst>
            <a:rect l="0" t="0" r="r" b="b"/>
            <a:pathLst>
              <a:path w="149" h="639">
                <a:moveTo>
                  <a:pt x="120" y="639"/>
                </a:moveTo>
                <a:lnTo>
                  <a:pt x="33" y="639"/>
                </a:lnTo>
                <a:lnTo>
                  <a:pt x="0" y="0"/>
                </a:lnTo>
                <a:lnTo>
                  <a:pt x="149" y="0"/>
                </a:lnTo>
                <a:lnTo>
                  <a:pt x="120" y="63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5" name="Freeform 71"/>
          <p:cNvSpPr>
            <a:spLocks/>
          </p:cNvSpPr>
          <p:nvPr/>
        </p:nvSpPr>
        <p:spPr bwMode="auto">
          <a:xfrm>
            <a:off x="11159721" y="6294707"/>
            <a:ext cx="303403" cy="154318"/>
          </a:xfrm>
          <a:custGeom>
            <a:avLst/>
            <a:gdLst>
              <a:gd name="T0" fmla="*/ 25 w 49"/>
              <a:gd name="T1" fmla="*/ 0 h 25"/>
              <a:gd name="T2" fmla="*/ 0 w 49"/>
              <a:gd name="T3" fmla="*/ 25 h 25"/>
              <a:gd name="T4" fmla="*/ 49 w 49"/>
              <a:gd name="T5" fmla="*/ 25 h 25"/>
              <a:gd name="T6" fmla="*/ 25 w 49"/>
              <a:gd name="T7" fmla="*/ 0 h 25"/>
            </a:gdLst>
            <a:ahLst/>
            <a:cxnLst>
              <a:cxn ang="0">
                <a:pos x="T0" y="T1"/>
              </a:cxn>
              <a:cxn ang="0">
                <a:pos x="T2" y="T3"/>
              </a:cxn>
              <a:cxn ang="0">
                <a:pos x="T4" y="T5"/>
              </a:cxn>
              <a:cxn ang="0">
                <a:pos x="T6" y="T7"/>
              </a:cxn>
            </a:cxnLst>
            <a:rect l="0" t="0" r="r" b="b"/>
            <a:pathLst>
              <a:path w="49" h="25">
                <a:moveTo>
                  <a:pt x="25" y="0"/>
                </a:moveTo>
                <a:cubicBezTo>
                  <a:pt x="11" y="0"/>
                  <a:pt x="0" y="11"/>
                  <a:pt x="0" y="25"/>
                </a:cubicBezTo>
                <a:cubicBezTo>
                  <a:pt x="49" y="25"/>
                  <a:pt x="49" y="25"/>
                  <a:pt x="49" y="25"/>
                </a:cubicBezTo>
                <a:cubicBezTo>
                  <a:pt x="49" y="11"/>
                  <a:pt x="38" y="0"/>
                  <a:pt x="2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6" name="Freeform 73"/>
          <p:cNvSpPr>
            <a:spLocks/>
          </p:cNvSpPr>
          <p:nvPr/>
        </p:nvSpPr>
        <p:spPr bwMode="auto">
          <a:xfrm>
            <a:off x="10911243" y="2559706"/>
            <a:ext cx="476031" cy="598962"/>
          </a:xfrm>
          <a:custGeom>
            <a:avLst/>
            <a:gdLst>
              <a:gd name="T0" fmla="*/ 68 w 77"/>
              <a:gd name="T1" fmla="*/ 59 h 97"/>
              <a:gd name="T2" fmla="*/ 28 w 77"/>
              <a:gd name="T3" fmla="*/ 90 h 97"/>
              <a:gd name="T4" fmla="*/ 8 w 77"/>
              <a:gd name="T5" fmla="*/ 39 h 97"/>
              <a:gd name="T6" fmla="*/ 57 w 77"/>
              <a:gd name="T7" fmla="*/ 6 h 97"/>
              <a:gd name="T8" fmla="*/ 68 w 77"/>
              <a:gd name="T9" fmla="*/ 59 h 97"/>
            </a:gdLst>
            <a:ahLst/>
            <a:cxnLst>
              <a:cxn ang="0">
                <a:pos x="T0" y="T1"/>
              </a:cxn>
              <a:cxn ang="0">
                <a:pos x="T2" y="T3"/>
              </a:cxn>
              <a:cxn ang="0">
                <a:pos x="T4" y="T5"/>
              </a:cxn>
              <a:cxn ang="0">
                <a:pos x="T6" y="T7"/>
              </a:cxn>
              <a:cxn ang="0">
                <a:pos x="T8" y="T9"/>
              </a:cxn>
            </a:cxnLst>
            <a:rect l="0" t="0" r="r" b="b"/>
            <a:pathLst>
              <a:path w="77" h="97">
                <a:moveTo>
                  <a:pt x="68" y="59"/>
                </a:moveTo>
                <a:cubicBezTo>
                  <a:pt x="54" y="97"/>
                  <a:pt x="46" y="96"/>
                  <a:pt x="28" y="90"/>
                </a:cubicBezTo>
                <a:cubicBezTo>
                  <a:pt x="9" y="84"/>
                  <a:pt x="0" y="61"/>
                  <a:pt x="8" y="39"/>
                </a:cubicBezTo>
                <a:cubicBezTo>
                  <a:pt x="15" y="17"/>
                  <a:pt x="39" y="0"/>
                  <a:pt x="57" y="6"/>
                </a:cubicBezTo>
                <a:cubicBezTo>
                  <a:pt x="76" y="12"/>
                  <a:pt x="77" y="37"/>
                  <a:pt x="68" y="59"/>
                </a:cubicBezTo>
                <a:close/>
              </a:path>
            </a:pathLst>
          </a:custGeom>
          <a:solidFill>
            <a:srgbClr val="E8B330"/>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7" name="Freeform 74"/>
          <p:cNvSpPr>
            <a:spLocks/>
          </p:cNvSpPr>
          <p:nvPr/>
        </p:nvSpPr>
        <p:spPr bwMode="auto">
          <a:xfrm>
            <a:off x="10824933" y="2533550"/>
            <a:ext cx="533571" cy="656503"/>
          </a:xfrm>
          <a:custGeom>
            <a:avLst/>
            <a:gdLst>
              <a:gd name="T0" fmla="*/ 74 w 86"/>
              <a:gd name="T1" fmla="*/ 22 h 106"/>
              <a:gd name="T2" fmla="*/ 62 w 86"/>
              <a:gd name="T3" fmla="*/ 90 h 106"/>
              <a:gd name="T4" fmla="*/ 25 w 86"/>
              <a:gd name="T5" fmla="*/ 87 h 106"/>
              <a:gd name="T6" fmla="*/ 25 w 86"/>
              <a:gd name="T7" fmla="*/ 8 h 106"/>
              <a:gd name="T8" fmla="*/ 74 w 86"/>
              <a:gd name="T9" fmla="*/ 22 h 106"/>
            </a:gdLst>
            <a:ahLst/>
            <a:cxnLst>
              <a:cxn ang="0">
                <a:pos x="T0" y="T1"/>
              </a:cxn>
              <a:cxn ang="0">
                <a:pos x="T2" y="T3"/>
              </a:cxn>
              <a:cxn ang="0">
                <a:pos x="T4" y="T5"/>
              </a:cxn>
              <a:cxn ang="0">
                <a:pos x="T6" y="T7"/>
              </a:cxn>
              <a:cxn ang="0">
                <a:pos x="T8" y="T9"/>
              </a:cxn>
            </a:cxnLst>
            <a:rect l="0" t="0" r="r" b="b"/>
            <a:pathLst>
              <a:path w="86" h="106">
                <a:moveTo>
                  <a:pt x="74" y="22"/>
                </a:moveTo>
                <a:cubicBezTo>
                  <a:pt x="86" y="41"/>
                  <a:pt x="77" y="81"/>
                  <a:pt x="62" y="90"/>
                </a:cubicBezTo>
                <a:cubicBezTo>
                  <a:pt x="48" y="98"/>
                  <a:pt x="36" y="106"/>
                  <a:pt x="25" y="87"/>
                </a:cubicBezTo>
                <a:cubicBezTo>
                  <a:pt x="14" y="68"/>
                  <a:pt x="0" y="19"/>
                  <a:pt x="25" y="8"/>
                </a:cubicBezTo>
                <a:cubicBezTo>
                  <a:pt x="40" y="0"/>
                  <a:pt x="63" y="3"/>
                  <a:pt x="74" y="22"/>
                </a:cubicBezTo>
                <a:close/>
              </a:path>
            </a:pathLst>
          </a:custGeom>
          <a:solidFill>
            <a:srgbClr val="E8B330"/>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8" name="Freeform 75"/>
          <p:cNvSpPr>
            <a:spLocks/>
          </p:cNvSpPr>
          <p:nvPr/>
        </p:nvSpPr>
        <p:spPr bwMode="auto">
          <a:xfrm>
            <a:off x="11010637" y="3017428"/>
            <a:ext cx="240631" cy="290328"/>
          </a:xfrm>
          <a:custGeom>
            <a:avLst/>
            <a:gdLst>
              <a:gd name="T0" fmla="*/ 92 w 92"/>
              <a:gd name="T1" fmla="*/ 73 h 111"/>
              <a:gd name="T2" fmla="*/ 45 w 92"/>
              <a:gd name="T3" fmla="*/ 111 h 111"/>
              <a:gd name="T4" fmla="*/ 0 w 92"/>
              <a:gd name="T5" fmla="*/ 73 h 111"/>
              <a:gd name="T6" fmla="*/ 0 w 92"/>
              <a:gd name="T7" fmla="*/ 0 h 111"/>
              <a:gd name="T8" fmla="*/ 92 w 92"/>
              <a:gd name="T9" fmla="*/ 0 h 111"/>
              <a:gd name="T10" fmla="*/ 92 w 92"/>
              <a:gd name="T11" fmla="*/ 73 h 111"/>
            </a:gdLst>
            <a:ahLst/>
            <a:cxnLst>
              <a:cxn ang="0">
                <a:pos x="T0" y="T1"/>
              </a:cxn>
              <a:cxn ang="0">
                <a:pos x="T2" y="T3"/>
              </a:cxn>
              <a:cxn ang="0">
                <a:pos x="T4" y="T5"/>
              </a:cxn>
              <a:cxn ang="0">
                <a:pos x="T6" y="T7"/>
              </a:cxn>
              <a:cxn ang="0">
                <a:pos x="T8" y="T9"/>
              </a:cxn>
              <a:cxn ang="0">
                <a:pos x="T10" y="T11"/>
              </a:cxn>
            </a:cxnLst>
            <a:rect l="0" t="0" r="r" b="b"/>
            <a:pathLst>
              <a:path w="92" h="111">
                <a:moveTo>
                  <a:pt x="92" y="73"/>
                </a:moveTo>
                <a:lnTo>
                  <a:pt x="45" y="111"/>
                </a:lnTo>
                <a:lnTo>
                  <a:pt x="0" y="73"/>
                </a:lnTo>
                <a:lnTo>
                  <a:pt x="0" y="0"/>
                </a:lnTo>
                <a:lnTo>
                  <a:pt x="92" y="0"/>
                </a:lnTo>
                <a:lnTo>
                  <a:pt x="92" y="73"/>
                </a:lnTo>
                <a:close/>
              </a:path>
            </a:pathLst>
          </a:custGeom>
          <a:solidFill>
            <a:srgbClr val="FFE093"/>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9" name="Freeform 76"/>
          <p:cNvSpPr>
            <a:spLocks/>
          </p:cNvSpPr>
          <p:nvPr/>
        </p:nvSpPr>
        <p:spPr bwMode="auto">
          <a:xfrm>
            <a:off x="10429984" y="3284212"/>
            <a:ext cx="517878" cy="1349621"/>
          </a:xfrm>
          <a:custGeom>
            <a:avLst/>
            <a:gdLst>
              <a:gd name="T0" fmla="*/ 84 w 84"/>
              <a:gd name="T1" fmla="*/ 9 h 218"/>
              <a:gd name="T2" fmla="*/ 51 w 84"/>
              <a:gd name="T3" fmla="*/ 0 h 218"/>
              <a:gd name="T4" fmla="*/ 0 w 84"/>
              <a:gd name="T5" fmla="*/ 218 h 218"/>
              <a:gd name="T6" fmla="*/ 34 w 84"/>
              <a:gd name="T7" fmla="*/ 218 h 218"/>
              <a:gd name="T8" fmla="*/ 84 w 84"/>
              <a:gd name="T9" fmla="*/ 9 h 218"/>
            </a:gdLst>
            <a:ahLst/>
            <a:cxnLst>
              <a:cxn ang="0">
                <a:pos x="T0" y="T1"/>
              </a:cxn>
              <a:cxn ang="0">
                <a:pos x="T2" y="T3"/>
              </a:cxn>
              <a:cxn ang="0">
                <a:pos x="T4" y="T5"/>
              </a:cxn>
              <a:cxn ang="0">
                <a:pos x="T6" y="T7"/>
              </a:cxn>
              <a:cxn ang="0">
                <a:pos x="T8" y="T9"/>
              </a:cxn>
            </a:cxnLst>
            <a:rect l="0" t="0" r="r" b="b"/>
            <a:pathLst>
              <a:path w="84" h="218">
                <a:moveTo>
                  <a:pt x="84" y="9"/>
                </a:moveTo>
                <a:cubicBezTo>
                  <a:pt x="73" y="6"/>
                  <a:pt x="62" y="3"/>
                  <a:pt x="51" y="0"/>
                </a:cubicBezTo>
                <a:cubicBezTo>
                  <a:pt x="18" y="71"/>
                  <a:pt x="7" y="141"/>
                  <a:pt x="0" y="218"/>
                </a:cubicBezTo>
                <a:cubicBezTo>
                  <a:pt x="34" y="218"/>
                  <a:pt x="34" y="218"/>
                  <a:pt x="34" y="218"/>
                </a:cubicBezTo>
                <a:cubicBezTo>
                  <a:pt x="42" y="144"/>
                  <a:pt x="53" y="77"/>
                  <a:pt x="84" y="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0" name="Freeform 77"/>
          <p:cNvSpPr>
            <a:spLocks/>
          </p:cNvSpPr>
          <p:nvPr/>
        </p:nvSpPr>
        <p:spPr bwMode="auto">
          <a:xfrm>
            <a:off x="11314040" y="3284212"/>
            <a:ext cx="525725" cy="1349621"/>
          </a:xfrm>
          <a:custGeom>
            <a:avLst/>
            <a:gdLst>
              <a:gd name="T0" fmla="*/ 0 w 85"/>
              <a:gd name="T1" fmla="*/ 9 h 218"/>
              <a:gd name="T2" fmla="*/ 34 w 85"/>
              <a:gd name="T3" fmla="*/ 0 h 218"/>
              <a:gd name="T4" fmla="*/ 85 w 85"/>
              <a:gd name="T5" fmla="*/ 218 h 218"/>
              <a:gd name="T6" fmla="*/ 50 w 85"/>
              <a:gd name="T7" fmla="*/ 218 h 218"/>
              <a:gd name="T8" fmla="*/ 0 w 85"/>
              <a:gd name="T9" fmla="*/ 9 h 218"/>
            </a:gdLst>
            <a:ahLst/>
            <a:cxnLst>
              <a:cxn ang="0">
                <a:pos x="T0" y="T1"/>
              </a:cxn>
              <a:cxn ang="0">
                <a:pos x="T2" y="T3"/>
              </a:cxn>
              <a:cxn ang="0">
                <a:pos x="T4" y="T5"/>
              </a:cxn>
              <a:cxn ang="0">
                <a:pos x="T6" y="T7"/>
              </a:cxn>
              <a:cxn ang="0">
                <a:pos x="T8" y="T9"/>
              </a:cxn>
            </a:cxnLst>
            <a:rect l="0" t="0" r="r" b="b"/>
            <a:pathLst>
              <a:path w="85" h="218">
                <a:moveTo>
                  <a:pt x="0" y="9"/>
                </a:moveTo>
                <a:cubicBezTo>
                  <a:pt x="12" y="6"/>
                  <a:pt x="23" y="3"/>
                  <a:pt x="34" y="0"/>
                </a:cubicBezTo>
                <a:cubicBezTo>
                  <a:pt x="67" y="71"/>
                  <a:pt x="77" y="141"/>
                  <a:pt x="85" y="218"/>
                </a:cubicBezTo>
                <a:cubicBezTo>
                  <a:pt x="50" y="218"/>
                  <a:pt x="50" y="218"/>
                  <a:pt x="50" y="218"/>
                </a:cubicBezTo>
                <a:cubicBezTo>
                  <a:pt x="42" y="144"/>
                  <a:pt x="32" y="77"/>
                  <a:pt x="0" y="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1" name="Freeform 79"/>
          <p:cNvSpPr>
            <a:spLocks/>
          </p:cNvSpPr>
          <p:nvPr/>
        </p:nvSpPr>
        <p:spPr bwMode="auto">
          <a:xfrm>
            <a:off x="11654058" y="4633836"/>
            <a:ext cx="154318" cy="172625"/>
          </a:xfrm>
          <a:custGeom>
            <a:avLst/>
            <a:gdLst>
              <a:gd name="T0" fmla="*/ 0 w 25"/>
              <a:gd name="T1" fmla="*/ 0 h 28"/>
              <a:gd name="T2" fmla="*/ 0 w 25"/>
              <a:gd name="T3" fmla="*/ 16 h 28"/>
              <a:gd name="T4" fmla="*/ 12 w 25"/>
              <a:gd name="T5" fmla="*/ 28 h 28"/>
              <a:gd name="T6" fmla="*/ 25 w 25"/>
              <a:gd name="T7" fmla="*/ 16 h 28"/>
              <a:gd name="T8" fmla="*/ 25 w 25"/>
              <a:gd name="T9" fmla="*/ 0 h 28"/>
              <a:gd name="T10" fmla="*/ 0 w 25"/>
              <a:gd name="T11" fmla="*/ 0 h 28"/>
            </a:gdLst>
            <a:ahLst/>
            <a:cxnLst>
              <a:cxn ang="0">
                <a:pos x="T0" y="T1"/>
              </a:cxn>
              <a:cxn ang="0">
                <a:pos x="T2" y="T3"/>
              </a:cxn>
              <a:cxn ang="0">
                <a:pos x="T4" y="T5"/>
              </a:cxn>
              <a:cxn ang="0">
                <a:pos x="T6" y="T7"/>
              </a:cxn>
              <a:cxn ang="0">
                <a:pos x="T8" y="T9"/>
              </a:cxn>
              <a:cxn ang="0">
                <a:pos x="T10" y="T11"/>
              </a:cxn>
            </a:cxnLst>
            <a:rect l="0" t="0" r="r" b="b"/>
            <a:pathLst>
              <a:path w="25" h="28">
                <a:moveTo>
                  <a:pt x="0" y="0"/>
                </a:moveTo>
                <a:cubicBezTo>
                  <a:pt x="0" y="16"/>
                  <a:pt x="0" y="16"/>
                  <a:pt x="0" y="16"/>
                </a:cubicBezTo>
                <a:cubicBezTo>
                  <a:pt x="0" y="23"/>
                  <a:pt x="5" y="28"/>
                  <a:pt x="12" y="28"/>
                </a:cubicBezTo>
                <a:cubicBezTo>
                  <a:pt x="19" y="28"/>
                  <a:pt x="25" y="23"/>
                  <a:pt x="25" y="16"/>
                </a:cubicBezTo>
                <a:cubicBezTo>
                  <a:pt x="25" y="0"/>
                  <a:pt x="25" y="0"/>
                  <a:pt x="25"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2" name="Freeform 80"/>
          <p:cNvSpPr>
            <a:spLocks/>
          </p:cNvSpPr>
          <p:nvPr/>
        </p:nvSpPr>
        <p:spPr bwMode="auto">
          <a:xfrm>
            <a:off x="10738618" y="3239747"/>
            <a:ext cx="784665" cy="1367933"/>
          </a:xfrm>
          <a:custGeom>
            <a:avLst/>
            <a:gdLst>
              <a:gd name="T0" fmla="*/ 208 w 300"/>
              <a:gd name="T1" fmla="*/ 0 h 523"/>
              <a:gd name="T2" fmla="*/ 149 w 300"/>
              <a:gd name="T3" fmla="*/ 100 h 523"/>
              <a:gd name="T4" fmla="*/ 92 w 300"/>
              <a:gd name="T5" fmla="*/ 0 h 523"/>
              <a:gd name="T6" fmla="*/ 0 w 300"/>
              <a:gd name="T7" fmla="*/ 17 h 523"/>
              <a:gd name="T8" fmla="*/ 5 w 300"/>
              <a:gd name="T9" fmla="*/ 523 h 523"/>
              <a:gd name="T10" fmla="*/ 293 w 300"/>
              <a:gd name="T11" fmla="*/ 523 h 523"/>
              <a:gd name="T12" fmla="*/ 300 w 300"/>
              <a:gd name="T13" fmla="*/ 17 h 523"/>
              <a:gd name="T14" fmla="*/ 208 w 300"/>
              <a:gd name="T15" fmla="*/ 0 h 5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523">
                <a:moveTo>
                  <a:pt x="208" y="0"/>
                </a:moveTo>
                <a:lnTo>
                  <a:pt x="149" y="100"/>
                </a:lnTo>
                <a:lnTo>
                  <a:pt x="92" y="0"/>
                </a:lnTo>
                <a:lnTo>
                  <a:pt x="0" y="17"/>
                </a:lnTo>
                <a:lnTo>
                  <a:pt x="5" y="523"/>
                </a:lnTo>
                <a:lnTo>
                  <a:pt x="293" y="523"/>
                </a:lnTo>
                <a:lnTo>
                  <a:pt x="300" y="17"/>
                </a:lnTo>
                <a:lnTo>
                  <a:pt x="208"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3" name="Freeform 81"/>
          <p:cNvSpPr>
            <a:spLocks/>
          </p:cNvSpPr>
          <p:nvPr/>
        </p:nvSpPr>
        <p:spPr bwMode="auto">
          <a:xfrm>
            <a:off x="11327118" y="2768950"/>
            <a:ext cx="5231" cy="7847"/>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0"/>
                  <a:pt x="0" y="0"/>
                  <a:pt x="0" y="0"/>
                </a:cubicBezTo>
                <a:cubicBezTo>
                  <a:pt x="0" y="0"/>
                  <a:pt x="0" y="0"/>
                  <a:pt x="1"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4" name="Freeform 82"/>
          <p:cNvSpPr>
            <a:spLocks/>
          </p:cNvSpPr>
          <p:nvPr/>
        </p:nvSpPr>
        <p:spPr bwMode="auto">
          <a:xfrm>
            <a:off x="11327118" y="276371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5" name="Freeform 83"/>
          <p:cNvSpPr>
            <a:spLocks/>
          </p:cNvSpPr>
          <p:nvPr/>
        </p:nvSpPr>
        <p:spPr bwMode="auto">
          <a:xfrm>
            <a:off x="11314040" y="2745409"/>
            <a:ext cx="5231"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6" name="Freeform 84"/>
          <p:cNvSpPr>
            <a:spLocks/>
          </p:cNvSpPr>
          <p:nvPr/>
        </p:nvSpPr>
        <p:spPr bwMode="auto">
          <a:xfrm>
            <a:off x="11319271" y="275064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7" name="Freeform 85"/>
          <p:cNvSpPr>
            <a:spLocks/>
          </p:cNvSpPr>
          <p:nvPr/>
        </p:nvSpPr>
        <p:spPr bwMode="auto">
          <a:xfrm>
            <a:off x="10929555" y="27454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8" name="Freeform 86"/>
          <p:cNvSpPr>
            <a:spLocks/>
          </p:cNvSpPr>
          <p:nvPr/>
        </p:nvSpPr>
        <p:spPr bwMode="auto">
          <a:xfrm>
            <a:off x="11332349" y="2776797"/>
            <a:ext cx="0" cy="5231"/>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9" name="Freeform 87"/>
          <p:cNvSpPr>
            <a:spLocks/>
          </p:cNvSpPr>
          <p:nvPr/>
        </p:nvSpPr>
        <p:spPr bwMode="auto">
          <a:xfrm>
            <a:off x="11332349" y="2787259"/>
            <a:ext cx="0" cy="7847"/>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40" name="Rectangle 88"/>
          <p:cNvSpPr>
            <a:spLocks noChangeArrowheads="1"/>
          </p:cNvSpPr>
          <p:nvPr/>
        </p:nvSpPr>
        <p:spPr bwMode="auto">
          <a:xfrm>
            <a:off x="11314040" y="2737562"/>
            <a:ext cx="2616" cy="2616"/>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41" name="Freeform 89"/>
          <p:cNvSpPr>
            <a:spLocks/>
          </p:cNvSpPr>
          <p:nvPr/>
        </p:nvSpPr>
        <p:spPr bwMode="auto">
          <a:xfrm>
            <a:off x="10919093" y="2782028"/>
            <a:ext cx="5231"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42" name="Freeform 90"/>
          <p:cNvSpPr>
            <a:spLocks/>
          </p:cNvSpPr>
          <p:nvPr/>
        </p:nvSpPr>
        <p:spPr bwMode="auto">
          <a:xfrm>
            <a:off x="10924324" y="276371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43" name="Freeform 91"/>
          <p:cNvSpPr>
            <a:spLocks/>
          </p:cNvSpPr>
          <p:nvPr/>
        </p:nvSpPr>
        <p:spPr bwMode="auto">
          <a:xfrm>
            <a:off x="10929555" y="275587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44" name="Freeform 92"/>
          <p:cNvSpPr>
            <a:spLocks/>
          </p:cNvSpPr>
          <p:nvPr/>
        </p:nvSpPr>
        <p:spPr bwMode="auto">
          <a:xfrm>
            <a:off x="10924324" y="2768950"/>
            <a:ext cx="0" cy="7847"/>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45" name="Freeform 93"/>
          <p:cNvSpPr>
            <a:spLocks/>
          </p:cNvSpPr>
          <p:nvPr/>
        </p:nvSpPr>
        <p:spPr bwMode="auto">
          <a:xfrm>
            <a:off x="10887705" y="2719256"/>
            <a:ext cx="481259" cy="434181"/>
          </a:xfrm>
          <a:custGeom>
            <a:avLst/>
            <a:gdLst>
              <a:gd name="T0" fmla="*/ 74 w 78"/>
              <a:gd name="T1" fmla="*/ 17 h 70"/>
              <a:gd name="T2" fmla="*/ 72 w 78"/>
              <a:gd name="T3" fmla="*/ 17 h 70"/>
              <a:gd name="T4" fmla="*/ 72 w 78"/>
              <a:gd name="T5" fmla="*/ 12 h 70"/>
              <a:gd name="T6" fmla="*/ 72 w 78"/>
              <a:gd name="T7" fmla="*/ 11 h 70"/>
              <a:gd name="T8" fmla="*/ 72 w 78"/>
              <a:gd name="T9" fmla="*/ 10 h 70"/>
              <a:gd name="T10" fmla="*/ 72 w 78"/>
              <a:gd name="T11" fmla="*/ 9 h 70"/>
              <a:gd name="T12" fmla="*/ 72 w 78"/>
              <a:gd name="T13" fmla="*/ 9 h 70"/>
              <a:gd name="T14" fmla="*/ 71 w 78"/>
              <a:gd name="T15" fmla="*/ 8 h 70"/>
              <a:gd name="T16" fmla="*/ 71 w 78"/>
              <a:gd name="T17" fmla="*/ 7 h 70"/>
              <a:gd name="T18" fmla="*/ 71 w 78"/>
              <a:gd name="T19" fmla="*/ 7 h 70"/>
              <a:gd name="T20" fmla="*/ 70 w 78"/>
              <a:gd name="T21" fmla="*/ 5 h 70"/>
              <a:gd name="T22" fmla="*/ 70 w 78"/>
              <a:gd name="T23" fmla="*/ 5 h 70"/>
              <a:gd name="T24" fmla="*/ 70 w 78"/>
              <a:gd name="T25" fmla="*/ 4 h 70"/>
              <a:gd name="T26" fmla="*/ 69 w 78"/>
              <a:gd name="T27" fmla="*/ 4 h 70"/>
              <a:gd name="T28" fmla="*/ 69 w 78"/>
              <a:gd name="T29" fmla="*/ 3 h 70"/>
              <a:gd name="T30" fmla="*/ 69 w 78"/>
              <a:gd name="T31" fmla="*/ 3 h 70"/>
              <a:gd name="T32" fmla="*/ 63 w 78"/>
              <a:gd name="T33" fmla="*/ 3 h 70"/>
              <a:gd name="T34" fmla="*/ 52 w 78"/>
              <a:gd name="T35" fmla="*/ 1 h 70"/>
              <a:gd name="T36" fmla="*/ 32 w 78"/>
              <a:gd name="T37" fmla="*/ 3 h 70"/>
              <a:gd name="T38" fmla="*/ 10 w 78"/>
              <a:gd name="T39" fmla="*/ 0 h 70"/>
              <a:gd name="T40" fmla="*/ 7 w 78"/>
              <a:gd name="T41" fmla="*/ 4 h 70"/>
              <a:gd name="T42" fmla="*/ 7 w 78"/>
              <a:gd name="T43" fmla="*/ 4 h 70"/>
              <a:gd name="T44" fmla="*/ 7 w 78"/>
              <a:gd name="T45" fmla="*/ 6 h 70"/>
              <a:gd name="T46" fmla="*/ 7 w 78"/>
              <a:gd name="T47" fmla="*/ 6 h 70"/>
              <a:gd name="T48" fmla="*/ 6 w 78"/>
              <a:gd name="T49" fmla="*/ 7 h 70"/>
              <a:gd name="T50" fmla="*/ 6 w 78"/>
              <a:gd name="T51" fmla="*/ 7 h 70"/>
              <a:gd name="T52" fmla="*/ 6 w 78"/>
              <a:gd name="T53" fmla="*/ 8 h 70"/>
              <a:gd name="T54" fmla="*/ 6 w 78"/>
              <a:gd name="T55" fmla="*/ 9 h 70"/>
              <a:gd name="T56" fmla="*/ 6 w 78"/>
              <a:gd name="T57" fmla="*/ 10 h 70"/>
              <a:gd name="T58" fmla="*/ 5 w 78"/>
              <a:gd name="T59" fmla="*/ 10 h 70"/>
              <a:gd name="T60" fmla="*/ 5 w 78"/>
              <a:gd name="T61" fmla="*/ 12 h 70"/>
              <a:gd name="T62" fmla="*/ 5 w 78"/>
              <a:gd name="T63" fmla="*/ 17 h 70"/>
              <a:gd name="T64" fmla="*/ 4 w 78"/>
              <a:gd name="T65" fmla="*/ 17 h 70"/>
              <a:gd name="T66" fmla="*/ 0 w 78"/>
              <a:gd name="T67" fmla="*/ 23 h 70"/>
              <a:gd name="T68" fmla="*/ 0 w 78"/>
              <a:gd name="T69" fmla="*/ 35 h 70"/>
              <a:gd name="T70" fmla="*/ 5 w 78"/>
              <a:gd name="T71" fmla="*/ 40 h 70"/>
              <a:gd name="T72" fmla="*/ 24 w 78"/>
              <a:gd name="T73" fmla="*/ 70 h 70"/>
              <a:gd name="T74" fmla="*/ 53 w 78"/>
              <a:gd name="T75" fmla="*/ 70 h 70"/>
              <a:gd name="T76" fmla="*/ 72 w 78"/>
              <a:gd name="T77" fmla="*/ 40 h 70"/>
              <a:gd name="T78" fmla="*/ 78 w 78"/>
              <a:gd name="T79" fmla="*/ 35 h 70"/>
              <a:gd name="T80" fmla="*/ 78 w 78"/>
              <a:gd name="T81" fmla="*/ 23 h 70"/>
              <a:gd name="T82" fmla="*/ 74 w 78"/>
              <a:gd name="T83" fmla="*/ 1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8" h="70">
                <a:moveTo>
                  <a:pt x="74" y="17"/>
                </a:moveTo>
                <a:cubicBezTo>
                  <a:pt x="73" y="17"/>
                  <a:pt x="73" y="17"/>
                  <a:pt x="72" y="17"/>
                </a:cubicBezTo>
                <a:cubicBezTo>
                  <a:pt x="72" y="12"/>
                  <a:pt x="72" y="12"/>
                  <a:pt x="72" y="12"/>
                </a:cubicBezTo>
                <a:cubicBezTo>
                  <a:pt x="72" y="12"/>
                  <a:pt x="72" y="11"/>
                  <a:pt x="72" y="11"/>
                </a:cubicBezTo>
                <a:cubicBezTo>
                  <a:pt x="72" y="10"/>
                  <a:pt x="72" y="10"/>
                  <a:pt x="72" y="10"/>
                </a:cubicBezTo>
                <a:cubicBezTo>
                  <a:pt x="72" y="10"/>
                  <a:pt x="72" y="9"/>
                  <a:pt x="72" y="9"/>
                </a:cubicBezTo>
                <a:cubicBezTo>
                  <a:pt x="72" y="9"/>
                  <a:pt x="72" y="9"/>
                  <a:pt x="72" y="9"/>
                </a:cubicBezTo>
                <a:cubicBezTo>
                  <a:pt x="71" y="8"/>
                  <a:pt x="71" y="8"/>
                  <a:pt x="71" y="8"/>
                </a:cubicBezTo>
                <a:cubicBezTo>
                  <a:pt x="71" y="8"/>
                  <a:pt x="71" y="7"/>
                  <a:pt x="71" y="7"/>
                </a:cubicBezTo>
                <a:cubicBezTo>
                  <a:pt x="71" y="7"/>
                  <a:pt x="71" y="7"/>
                  <a:pt x="71" y="7"/>
                </a:cubicBezTo>
                <a:cubicBezTo>
                  <a:pt x="71" y="6"/>
                  <a:pt x="71" y="6"/>
                  <a:pt x="70" y="5"/>
                </a:cubicBezTo>
                <a:cubicBezTo>
                  <a:pt x="70" y="5"/>
                  <a:pt x="70" y="5"/>
                  <a:pt x="70" y="5"/>
                </a:cubicBezTo>
                <a:cubicBezTo>
                  <a:pt x="70" y="4"/>
                  <a:pt x="70" y="4"/>
                  <a:pt x="70" y="4"/>
                </a:cubicBezTo>
                <a:cubicBezTo>
                  <a:pt x="70" y="4"/>
                  <a:pt x="70" y="4"/>
                  <a:pt x="69" y="4"/>
                </a:cubicBezTo>
                <a:cubicBezTo>
                  <a:pt x="69" y="3"/>
                  <a:pt x="69" y="3"/>
                  <a:pt x="69" y="3"/>
                </a:cubicBezTo>
                <a:cubicBezTo>
                  <a:pt x="69" y="3"/>
                  <a:pt x="69" y="3"/>
                  <a:pt x="69" y="3"/>
                </a:cubicBezTo>
                <a:cubicBezTo>
                  <a:pt x="67" y="3"/>
                  <a:pt x="65" y="3"/>
                  <a:pt x="63" y="3"/>
                </a:cubicBezTo>
                <a:cubicBezTo>
                  <a:pt x="58" y="3"/>
                  <a:pt x="54" y="2"/>
                  <a:pt x="52" y="1"/>
                </a:cubicBezTo>
                <a:cubicBezTo>
                  <a:pt x="47" y="2"/>
                  <a:pt x="40" y="3"/>
                  <a:pt x="32" y="3"/>
                </a:cubicBezTo>
                <a:cubicBezTo>
                  <a:pt x="23" y="3"/>
                  <a:pt x="15" y="2"/>
                  <a:pt x="10" y="0"/>
                </a:cubicBezTo>
                <a:cubicBezTo>
                  <a:pt x="9" y="2"/>
                  <a:pt x="8" y="3"/>
                  <a:pt x="7" y="4"/>
                </a:cubicBezTo>
                <a:cubicBezTo>
                  <a:pt x="7" y="4"/>
                  <a:pt x="7" y="4"/>
                  <a:pt x="7" y="4"/>
                </a:cubicBezTo>
                <a:cubicBezTo>
                  <a:pt x="7" y="5"/>
                  <a:pt x="7" y="5"/>
                  <a:pt x="7" y="6"/>
                </a:cubicBezTo>
                <a:cubicBezTo>
                  <a:pt x="7" y="6"/>
                  <a:pt x="7" y="6"/>
                  <a:pt x="7" y="6"/>
                </a:cubicBezTo>
                <a:cubicBezTo>
                  <a:pt x="7" y="6"/>
                  <a:pt x="6" y="7"/>
                  <a:pt x="6" y="7"/>
                </a:cubicBezTo>
                <a:cubicBezTo>
                  <a:pt x="6" y="7"/>
                  <a:pt x="6" y="7"/>
                  <a:pt x="6" y="7"/>
                </a:cubicBezTo>
                <a:cubicBezTo>
                  <a:pt x="6" y="8"/>
                  <a:pt x="6" y="8"/>
                  <a:pt x="6" y="8"/>
                </a:cubicBezTo>
                <a:cubicBezTo>
                  <a:pt x="6" y="9"/>
                  <a:pt x="6" y="9"/>
                  <a:pt x="6" y="9"/>
                </a:cubicBezTo>
                <a:cubicBezTo>
                  <a:pt x="6" y="9"/>
                  <a:pt x="6" y="10"/>
                  <a:pt x="6" y="10"/>
                </a:cubicBezTo>
                <a:cubicBezTo>
                  <a:pt x="5" y="10"/>
                  <a:pt x="5" y="10"/>
                  <a:pt x="5" y="10"/>
                </a:cubicBezTo>
                <a:cubicBezTo>
                  <a:pt x="5" y="11"/>
                  <a:pt x="5" y="12"/>
                  <a:pt x="5" y="12"/>
                </a:cubicBezTo>
                <a:cubicBezTo>
                  <a:pt x="5" y="17"/>
                  <a:pt x="5" y="17"/>
                  <a:pt x="5" y="17"/>
                </a:cubicBezTo>
                <a:cubicBezTo>
                  <a:pt x="5" y="17"/>
                  <a:pt x="5" y="17"/>
                  <a:pt x="4" y="17"/>
                </a:cubicBezTo>
                <a:cubicBezTo>
                  <a:pt x="2" y="17"/>
                  <a:pt x="0" y="20"/>
                  <a:pt x="0" y="23"/>
                </a:cubicBezTo>
                <a:cubicBezTo>
                  <a:pt x="0" y="35"/>
                  <a:pt x="0" y="35"/>
                  <a:pt x="0" y="35"/>
                </a:cubicBezTo>
                <a:cubicBezTo>
                  <a:pt x="0" y="38"/>
                  <a:pt x="2" y="40"/>
                  <a:pt x="5" y="40"/>
                </a:cubicBezTo>
                <a:cubicBezTo>
                  <a:pt x="5" y="40"/>
                  <a:pt x="15" y="70"/>
                  <a:pt x="24" y="70"/>
                </a:cubicBezTo>
                <a:cubicBezTo>
                  <a:pt x="53" y="70"/>
                  <a:pt x="53" y="70"/>
                  <a:pt x="53" y="70"/>
                </a:cubicBezTo>
                <a:cubicBezTo>
                  <a:pt x="62" y="70"/>
                  <a:pt x="72" y="40"/>
                  <a:pt x="72" y="40"/>
                </a:cubicBezTo>
                <a:cubicBezTo>
                  <a:pt x="75" y="40"/>
                  <a:pt x="78" y="38"/>
                  <a:pt x="78" y="35"/>
                </a:cubicBezTo>
                <a:cubicBezTo>
                  <a:pt x="78" y="23"/>
                  <a:pt x="78" y="23"/>
                  <a:pt x="78" y="23"/>
                </a:cubicBezTo>
                <a:cubicBezTo>
                  <a:pt x="78" y="20"/>
                  <a:pt x="76" y="18"/>
                  <a:pt x="74" y="17"/>
                </a:cubicBezTo>
                <a:close/>
              </a:path>
            </a:pathLst>
          </a:custGeom>
          <a:solidFill>
            <a:srgbClr val="FFE093"/>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46" name="Rectangle 94"/>
          <p:cNvSpPr>
            <a:spLocks noChangeArrowheads="1"/>
          </p:cNvSpPr>
          <p:nvPr/>
        </p:nvSpPr>
        <p:spPr bwMode="auto">
          <a:xfrm>
            <a:off x="10751696" y="4607680"/>
            <a:ext cx="753278" cy="4969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47" name="Freeform 61"/>
          <p:cNvSpPr>
            <a:spLocks noEditPoints="1"/>
          </p:cNvSpPr>
          <p:nvPr/>
        </p:nvSpPr>
        <p:spPr bwMode="auto">
          <a:xfrm>
            <a:off x="10907307" y="2783936"/>
            <a:ext cx="461657" cy="151901"/>
          </a:xfrm>
          <a:custGeom>
            <a:avLst/>
            <a:gdLst>
              <a:gd name="T0" fmla="*/ 66 w 67"/>
              <a:gd name="T1" fmla="*/ 2 h 22"/>
              <a:gd name="T2" fmla="*/ 49 w 67"/>
              <a:gd name="T3" fmla="*/ 1 h 22"/>
              <a:gd name="T4" fmla="*/ 33 w 67"/>
              <a:gd name="T5" fmla="*/ 5 h 22"/>
              <a:gd name="T6" fmla="*/ 17 w 67"/>
              <a:gd name="T7" fmla="*/ 1 h 22"/>
              <a:gd name="T8" fmla="*/ 0 w 67"/>
              <a:gd name="T9" fmla="*/ 2 h 22"/>
              <a:gd name="T10" fmla="*/ 0 w 67"/>
              <a:gd name="T11" fmla="*/ 4 h 22"/>
              <a:gd name="T12" fmla="*/ 2 w 67"/>
              <a:gd name="T13" fmla="*/ 7 h 22"/>
              <a:gd name="T14" fmla="*/ 4 w 67"/>
              <a:gd name="T15" fmla="*/ 12 h 22"/>
              <a:gd name="T16" fmla="*/ 20 w 67"/>
              <a:gd name="T17" fmla="*/ 21 h 22"/>
              <a:gd name="T18" fmla="*/ 31 w 67"/>
              <a:gd name="T19" fmla="*/ 9 h 22"/>
              <a:gd name="T20" fmla="*/ 33 w 67"/>
              <a:gd name="T21" fmla="*/ 8 h 22"/>
              <a:gd name="T22" fmla="*/ 36 w 67"/>
              <a:gd name="T23" fmla="*/ 9 h 22"/>
              <a:gd name="T24" fmla="*/ 47 w 67"/>
              <a:gd name="T25" fmla="*/ 21 h 22"/>
              <a:gd name="T26" fmla="*/ 62 w 67"/>
              <a:gd name="T27" fmla="*/ 12 h 22"/>
              <a:gd name="T28" fmla="*/ 64 w 67"/>
              <a:gd name="T29" fmla="*/ 7 h 22"/>
              <a:gd name="T30" fmla="*/ 66 w 67"/>
              <a:gd name="T31" fmla="*/ 4 h 22"/>
              <a:gd name="T32" fmla="*/ 66 w 67"/>
              <a:gd name="T33" fmla="*/ 2 h 22"/>
              <a:gd name="T34" fmla="*/ 25 w 67"/>
              <a:gd name="T35" fmla="*/ 16 h 22"/>
              <a:gd name="T36" fmla="*/ 13 w 67"/>
              <a:gd name="T37" fmla="*/ 19 h 22"/>
              <a:gd name="T38" fmla="*/ 6 w 67"/>
              <a:gd name="T39" fmla="*/ 8 h 22"/>
              <a:gd name="T40" fmla="*/ 18 w 67"/>
              <a:gd name="T41" fmla="*/ 3 h 22"/>
              <a:gd name="T42" fmla="*/ 26 w 67"/>
              <a:gd name="T43" fmla="*/ 5 h 22"/>
              <a:gd name="T44" fmla="*/ 25 w 67"/>
              <a:gd name="T45" fmla="*/ 16 h 22"/>
              <a:gd name="T46" fmla="*/ 53 w 67"/>
              <a:gd name="T47" fmla="*/ 19 h 22"/>
              <a:gd name="T48" fmla="*/ 41 w 67"/>
              <a:gd name="T49" fmla="*/ 16 h 22"/>
              <a:gd name="T50" fmla="*/ 41 w 67"/>
              <a:gd name="T51" fmla="*/ 5 h 22"/>
              <a:gd name="T52" fmla="*/ 49 w 67"/>
              <a:gd name="T53" fmla="*/ 3 h 22"/>
              <a:gd name="T54" fmla="*/ 61 w 67"/>
              <a:gd name="T55" fmla="*/ 8 h 22"/>
              <a:gd name="T56" fmla="*/ 53 w 67"/>
              <a:gd name="T57"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22">
                <a:moveTo>
                  <a:pt x="66" y="2"/>
                </a:moveTo>
                <a:cubicBezTo>
                  <a:pt x="66" y="2"/>
                  <a:pt x="56" y="0"/>
                  <a:pt x="49" y="1"/>
                </a:cubicBezTo>
                <a:cubicBezTo>
                  <a:pt x="42" y="2"/>
                  <a:pt x="37" y="5"/>
                  <a:pt x="33" y="5"/>
                </a:cubicBezTo>
                <a:cubicBezTo>
                  <a:pt x="30" y="5"/>
                  <a:pt x="24" y="2"/>
                  <a:pt x="17" y="1"/>
                </a:cubicBezTo>
                <a:cubicBezTo>
                  <a:pt x="10" y="0"/>
                  <a:pt x="0" y="2"/>
                  <a:pt x="0" y="2"/>
                </a:cubicBezTo>
                <a:cubicBezTo>
                  <a:pt x="0" y="2"/>
                  <a:pt x="0" y="3"/>
                  <a:pt x="0" y="4"/>
                </a:cubicBezTo>
                <a:cubicBezTo>
                  <a:pt x="1" y="5"/>
                  <a:pt x="1" y="6"/>
                  <a:pt x="2" y="7"/>
                </a:cubicBezTo>
                <a:cubicBezTo>
                  <a:pt x="4" y="8"/>
                  <a:pt x="4" y="12"/>
                  <a:pt x="4" y="12"/>
                </a:cubicBezTo>
                <a:cubicBezTo>
                  <a:pt x="6" y="20"/>
                  <a:pt x="12" y="22"/>
                  <a:pt x="20" y="21"/>
                </a:cubicBezTo>
                <a:cubicBezTo>
                  <a:pt x="28" y="19"/>
                  <a:pt x="30" y="11"/>
                  <a:pt x="31" y="9"/>
                </a:cubicBezTo>
                <a:cubicBezTo>
                  <a:pt x="32" y="8"/>
                  <a:pt x="33" y="8"/>
                  <a:pt x="33" y="8"/>
                </a:cubicBezTo>
                <a:cubicBezTo>
                  <a:pt x="33" y="8"/>
                  <a:pt x="35" y="8"/>
                  <a:pt x="36" y="9"/>
                </a:cubicBezTo>
                <a:cubicBezTo>
                  <a:pt x="37" y="11"/>
                  <a:pt x="39" y="19"/>
                  <a:pt x="47" y="21"/>
                </a:cubicBezTo>
                <a:cubicBezTo>
                  <a:pt x="55" y="22"/>
                  <a:pt x="61" y="20"/>
                  <a:pt x="62" y="12"/>
                </a:cubicBezTo>
                <a:cubicBezTo>
                  <a:pt x="62" y="12"/>
                  <a:pt x="62" y="8"/>
                  <a:pt x="64" y="7"/>
                </a:cubicBezTo>
                <a:cubicBezTo>
                  <a:pt x="66" y="6"/>
                  <a:pt x="66" y="5"/>
                  <a:pt x="66" y="4"/>
                </a:cubicBezTo>
                <a:cubicBezTo>
                  <a:pt x="66" y="3"/>
                  <a:pt x="67" y="2"/>
                  <a:pt x="66" y="2"/>
                </a:cubicBezTo>
                <a:close/>
                <a:moveTo>
                  <a:pt x="25" y="16"/>
                </a:moveTo>
                <a:cubicBezTo>
                  <a:pt x="23" y="19"/>
                  <a:pt x="19" y="20"/>
                  <a:pt x="13" y="19"/>
                </a:cubicBezTo>
                <a:cubicBezTo>
                  <a:pt x="8" y="18"/>
                  <a:pt x="6" y="14"/>
                  <a:pt x="6" y="8"/>
                </a:cubicBezTo>
                <a:cubicBezTo>
                  <a:pt x="6" y="1"/>
                  <a:pt x="18" y="3"/>
                  <a:pt x="18" y="3"/>
                </a:cubicBezTo>
                <a:cubicBezTo>
                  <a:pt x="22" y="4"/>
                  <a:pt x="22" y="4"/>
                  <a:pt x="26" y="5"/>
                </a:cubicBezTo>
                <a:cubicBezTo>
                  <a:pt x="30" y="6"/>
                  <a:pt x="27" y="13"/>
                  <a:pt x="25" y="16"/>
                </a:cubicBezTo>
                <a:close/>
                <a:moveTo>
                  <a:pt x="53" y="19"/>
                </a:moveTo>
                <a:cubicBezTo>
                  <a:pt x="48" y="20"/>
                  <a:pt x="44" y="19"/>
                  <a:pt x="41" y="16"/>
                </a:cubicBezTo>
                <a:cubicBezTo>
                  <a:pt x="39" y="13"/>
                  <a:pt x="37" y="6"/>
                  <a:pt x="41" y="5"/>
                </a:cubicBezTo>
                <a:cubicBezTo>
                  <a:pt x="44" y="4"/>
                  <a:pt x="44" y="4"/>
                  <a:pt x="49" y="3"/>
                </a:cubicBezTo>
                <a:cubicBezTo>
                  <a:pt x="49" y="3"/>
                  <a:pt x="61" y="1"/>
                  <a:pt x="61" y="8"/>
                </a:cubicBezTo>
                <a:cubicBezTo>
                  <a:pt x="61" y="14"/>
                  <a:pt x="59" y="18"/>
                  <a:pt x="53" y="1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5"/>
          <p:cNvSpPr>
            <a:spLocks/>
          </p:cNvSpPr>
          <p:nvPr/>
        </p:nvSpPr>
        <p:spPr bwMode="auto">
          <a:xfrm rot="18750993">
            <a:off x="10391994" y="4139693"/>
            <a:ext cx="490458" cy="699266"/>
          </a:xfrm>
          <a:custGeom>
            <a:avLst/>
            <a:gdLst>
              <a:gd name="T0" fmla="*/ 0 w 505"/>
              <a:gd name="T1" fmla="*/ 704 h 720"/>
              <a:gd name="T2" fmla="*/ 17 w 505"/>
              <a:gd name="T3" fmla="*/ 720 h 720"/>
              <a:gd name="T4" fmla="*/ 488 w 505"/>
              <a:gd name="T5" fmla="*/ 720 h 720"/>
              <a:gd name="T6" fmla="*/ 505 w 505"/>
              <a:gd name="T7" fmla="*/ 704 h 720"/>
              <a:gd name="T8" fmla="*/ 505 w 505"/>
              <a:gd name="T9" fmla="*/ 17 h 720"/>
              <a:gd name="T10" fmla="*/ 488 w 505"/>
              <a:gd name="T11" fmla="*/ 0 h 720"/>
              <a:gd name="T12" fmla="*/ 17 w 505"/>
              <a:gd name="T13" fmla="*/ 0 h 720"/>
              <a:gd name="T14" fmla="*/ 0 w 505"/>
              <a:gd name="T15" fmla="*/ 17 h 720"/>
              <a:gd name="T16" fmla="*/ 0 w 505"/>
              <a:gd name="T17" fmla="*/ 704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5" h="720">
                <a:moveTo>
                  <a:pt x="0" y="704"/>
                </a:moveTo>
                <a:cubicBezTo>
                  <a:pt x="0" y="713"/>
                  <a:pt x="8" y="720"/>
                  <a:pt x="17" y="720"/>
                </a:cubicBezTo>
                <a:cubicBezTo>
                  <a:pt x="488" y="720"/>
                  <a:pt x="488" y="720"/>
                  <a:pt x="488" y="720"/>
                </a:cubicBezTo>
                <a:cubicBezTo>
                  <a:pt x="498" y="720"/>
                  <a:pt x="505" y="713"/>
                  <a:pt x="505" y="704"/>
                </a:cubicBezTo>
                <a:cubicBezTo>
                  <a:pt x="505" y="17"/>
                  <a:pt x="505" y="17"/>
                  <a:pt x="505" y="17"/>
                </a:cubicBezTo>
                <a:cubicBezTo>
                  <a:pt x="505" y="8"/>
                  <a:pt x="498" y="0"/>
                  <a:pt x="488" y="0"/>
                </a:cubicBezTo>
                <a:cubicBezTo>
                  <a:pt x="17" y="0"/>
                  <a:pt x="17" y="0"/>
                  <a:pt x="17" y="0"/>
                </a:cubicBezTo>
                <a:cubicBezTo>
                  <a:pt x="8" y="0"/>
                  <a:pt x="0" y="8"/>
                  <a:pt x="0" y="17"/>
                </a:cubicBezTo>
                <a:lnTo>
                  <a:pt x="0" y="70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6"/>
          <p:cNvSpPr>
            <a:spLocks noChangeArrowheads="1"/>
          </p:cNvSpPr>
          <p:nvPr/>
        </p:nvSpPr>
        <p:spPr bwMode="auto">
          <a:xfrm rot="18750993">
            <a:off x="10419886" y="4167074"/>
            <a:ext cx="435654" cy="644463"/>
          </a:xfrm>
          <a:prstGeom prst="rect">
            <a:avLst/>
          </a:prstGeom>
          <a:solidFill>
            <a:schemeClr val="tx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67"/>
          <p:cNvSpPr/>
          <p:nvPr/>
        </p:nvSpPr>
        <p:spPr bwMode="auto">
          <a:xfrm>
            <a:off x="7248916" y="5018671"/>
            <a:ext cx="1809750" cy="140162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Regulatory Awareness</a:t>
            </a:r>
          </a:p>
        </p:txBody>
      </p:sp>
      <p:sp>
        <p:nvSpPr>
          <p:cNvPr id="52" name="Rounded Rectangle 68"/>
          <p:cNvSpPr/>
          <p:nvPr/>
        </p:nvSpPr>
        <p:spPr bwMode="auto">
          <a:xfrm>
            <a:off x="8039100" y="1189177"/>
            <a:ext cx="2723059" cy="1370530"/>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Isosceles Triangle 69"/>
          <p:cNvSpPr/>
          <p:nvPr/>
        </p:nvSpPr>
        <p:spPr bwMode="auto">
          <a:xfrm rot="10800000">
            <a:off x="10000708" y="2470027"/>
            <a:ext cx="558608" cy="463462"/>
          </a:xfrm>
          <a:prstGeom prst="triangle">
            <a:avLst>
              <a:gd name="adj" fmla="val 12487"/>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a:off x="8026022" y="1207179"/>
            <a:ext cx="2861683" cy="1292662"/>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latin typeface="+mj-lt"/>
              </a:rPr>
              <a:t>Career opportunities are wide-reaching.  Consider joining the fight against cybercrime.</a:t>
            </a:r>
          </a:p>
        </p:txBody>
      </p:sp>
    </p:spTree>
    <p:extLst>
      <p:ext uri="{BB962C8B-B14F-4D97-AF65-F5344CB8AC3E}">
        <p14:creationId xmlns:p14="http://schemas.microsoft.com/office/powerpoint/2010/main" val="292685335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3"/>
          <p:cNvPicPr>
            <a:picLocks noGrp="1" noChangeAspect="1"/>
          </p:cNvPicPr>
          <p:nvPr/>
        </p:nvPicPr>
        <p:blipFill rotWithShape="1">
          <a:blip r:embed="rId3">
            <a:extLst>
              <a:ext uri="{28A0092B-C50C-407E-A947-70E740481C1C}">
                <a14:useLocalDpi xmlns:a14="http://schemas.microsoft.com/office/drawing/2010/main" val="0"/>
              </a:ext>
            </a:extLst>
          </a:blip>
          <a:srcRect b="12529"/>
          <a:stretch/>
        </p:blipFill>
        <p:spPr>
          <a:xfrm>
            <a:off x="0" y="-1"/>
            <a:ext cx="12192000" cy="6858001"/>
          </a:xfrm>
          <a:prstGeom prst="rect">
            <a:avLst/>
          </a:prstGeom>
        </p:spPr>
      </p:pic>
      <p:sp>
        <p:nvSpPr>
          <p:cNvPr id="7" name="Rectangle 6"/>
          <p:cNvSpPr/>
          <p:nvPr/>
        </p:nvSpPr>
        <p:spPr bwMode="auto">
          <a:xfrm>
            <a:off x="0" y="289511"/>
            <a:ext cx="4438650" cy="899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solidFill>
                  <a:schemeClr val="bg1"/>
                </a:solidFill>
              </a:rPr>
              <a:t>Your next steps</a:t>
            </a:r>
          </a:p>
        </p:txBody>
      </p:sp>
      <p:sp>
        <p:nvSpPr>
          <p:cNvPr id="6" name="Rectangle 5"/>
          <p:cNvSpPr/>
          <p:nvPr/>
        </p:nvSpPr>
        <p:spPr bwMode="auto">
          <a:xfrm>
            <a:off x="-1" y="2737713"/>
            <a:ext cx="5418667" cy="30196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Get even more curious and learn more…</a:t>
            </a:r>
          </a:p>
          <a:p>
            <a:pP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marL="742950" indent="-742950" defTabSz="932472" fontAlgn="base">
              <a:lnSpc>
                <a:spcPct val="90000"/>
              </a:lnSpc>
              <a:spcBef>
                <a:spcPct val="0"/>
              </a:spcBef>
              <a:spcAft>
                <a:spcPts val="600"/>
              </a:spcAft>
              <a:buFont typeface="+mj-lt"/>
              <a:buAutoNum type="arabicPeriod"/>
            </a:pPr>
            <a:r>
              <a:rPr lang="en-US" sz="2400" dirty="0">
                <a:gradFill>
                  <a:gsLst>
                    <a:gs pos="0">
                      <a:srgbClr val="FFFFFF"/>
                    </a:gs>
                    <a:gs pos="100000">
                      <a:srgbClr val="FFFFFF"/>
                    </a:gs>
                  </a:gsLst>
                  <a:lin ang="5400000" scaled="0"/>
                </a:gradFill>
                <a:ea typeface="Segoe UI" pitchFamily="34" charset="0"/>
                <a:cs typeface="Segoe UI" pitchFamily="34" charset="0"/>
              </a:rPr>
              <a:t>Join a local Microsoft Student Partner group</a:t>
            </a:r>
          </a:p>
          <a:p>
            <a:pPr marL="742950" indent="-742950" defTabSz="932472" fontAlgn="base">
              <a:lnSpc>
                <a:spcPct val="90000"/>
              </a:lnSpc>
              <a:spcBef>
                <a:spcPct val="0"/>
              </a:spcBef>
              <a:spcAft>
                <a:spcPts val="600"/>
              </a:spcAft>
              <a:buFont typeface="+mj-lt"/>
              <a:buAutoNum type="arabicPeriod"/>
            </a:pPr>
            <a:r>
              <a:rPr lang="en-US" sz="2400" dirty="0">
                <a:gradFill>
                  <a:gsLst>
                    <a:gs pos="0">
                      <a:srgbClr val="FFFFFF"/>
                    </a:gs>
                    <a:gs pos="100000">
                      <a:srgbClr val="FFFFFF"/>
                    </a:gs>
                  </a:gsLst>
                  <a:lin ang="5400000" scaled="0"/>
                </a:gradFill>
                <a:ea typeface="Segoe UI" pitchFamily="34" charset="0"/>
                <a:cs typeface="Segoe UI" pitchFamily="34" charset="0"/>
              </a:rPr>
              <a:t>Consider an Imagine Cup project in cybersecurity</a:t>
            </a:r>
          </a:p>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22030151"/>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11653523" cy="5312223"/>
          </a:xfrm>
        </p:spPr>
        <p:txBody>
          <a:bodyPr/>
          <a:lstStyle/>
          <a:p>
            <a:pPr marL="0" indent="0">
              <a:buNone/>
            </a:pPr>
            <a:r>
              <a:rPr lang="en-US" sz="1400" b="1" dirty="0">
                <a:solidFill>
                  <a:schemeClr val="bg1">
                    <a:lumMod val="50000"/>
                  </a:schemeClr>
                </a:solidFill>
                <a:latin typeface="+mn-lt"/>
              </a:rPr>
              <a:t>Industry Reports</a:t>
            </a:r>
          </a:p>
          <a:p>
            <a:r>
              <a:rPr lang="en-US" sz="1400" dirty="0">
                <a:solidFill>
                  <a:schemeClr val="bg1">
                    <a:lumMod val="50000"/>
                  </a:schemeClr>
                </a:solidFill>
                <a:latin typeface="+mn-lt"/>
              </a:rPr>
              <a:t>The Insider’s Guide to Cybersecurity for Government! (Microsoft)</a:t>
            </a:r>
          </a:p>
          <a:p>
            <a:r>
              <a:rPr lang="en-US" sz="1400" dirty="0">
                <a:solidFill>
                  <a:schemeClr val="bg1">
                    <a:lumMod val="50000"/>
                  </a:schemeClr>
                </a:solidFill>
                <a:latin typeface="+mn-lt"/>
              </a:rPr>
              <a:t>M-Trends 2015: A View from the Front Lines (</a:t>
            </a:r>
            <a:r>
              <a:rPr lang="en-US" sz="1400" dirty="0" err="1">
                <a:solidFill>
                  <a:schemeClr val="bg1">
                    <a:lumMod val="50000"/>
                  </a:schemeClr>
                </a:solidFill>
                <a:latin typeface="+mn-lt"/>
              </a:rPr>
              <a:t>Mandiant</a:t>
            </a:r>
            <a:r>
              <a:rPr lang="en-US" sz="1400" dirty="0">
                <a:solidFill>
                  <a:schemeClr val="bg1">
                    <a:lumMod val="50000"/>
                  </a:schemeClr>
                </a:solidFill>
                <a:latin typeface="+mn-lt"/>
              </a:rPr>
              <a:t>)</a:t>
            </a:r>
          </a:p>
          <a:p>
            <a:r>
              <a:rPr lang="en-US" sz="1400" dirty="0">
                <a:solidFill>
                  <a:schemeClr val="bg1">
                    <a:lumMod val="50000"/>
                  </a:schemeClr>
                </a:solidFill>
                <a:latin typeface="+mn-lt"/>
              </a:rPr>
              <a:t>Shift Cybersecurity Investment to Detection and Response (Gartner)</a:t>
            </a:r>
          </a:p>
          <a:p>
            <a:r>
              <a:rPr lang="en-US" sz="1400" dirty="0">
                <a:solidFill>
                  <a:schemeClr val="bg1">
                    <a:lumMod val="50000"/>
                  </a:schemeClr>
                </a:solidFill>
                <a:latin typeface="+mn-lt"/>
              </a:rPr>
              <a:t>2016 Data Breach Investigations Report (Verizon)</a:t>
            </a:r>
          </a:p>
          <a:p>
            <a:endParaRPr lang="en-US" sz="1400" dirty="0">
              <a:solidFill>
                <a:schemeClr val="bg1">
                  <a:lumMod val="50000"/>
                </a:schemeClr>
              </a:solidFill>
              <a:latin typeface="+mn-lt"/>
            </a:endParaRPr>
          </a:p>
          <a:p>
            <a:pPr marL="0" indent="0">
              <a:buNone/>
            </a:pPr>
            <a:r>
              <a:rPr lang="en-US" sz="1400" b="1" dirty="0">
                <a:solidFill>
                  <a:schemeClr val="bg1">
                    <a:lumMod val="50000"/>
                  </a:schemeClr>
                </a:solidFill>
                <a:latin typeface="+mn-lt"/>
              </a:rPr>
              <a:t>News</a:t>
            </a:r>
          </a:p>
          <a:p>
            <a:r>
              <a:rPr lang="en-US" sz="1400" dirty="0">
                <a:solidFill>
                  <a:schemeClr val="bg1">
                    <a:lumMod val="50000"/>
                  </a:schemeClr>
                </a:solidFill>
                <a:latin typeface="+mn-lt"/>
              </a:rPr>
              <a:t>thehackernews.com</a:t>
            </a:r>
          </a:p>
          <a:p>
            <a:r>
              <a:rPr lang="en-US" sz="1400" dirty="0">
                <a:solidFill>
                  <a:schemeClr val="bg1">
                    <a:lumMod val="50000"/>
                  </a:schemeClr>
                </a:solidFill>
                <a:latin typeface="+mn-lt"/>
              </a:rPr>
              <a:t>http://www.zdnet.com/article/getting-started-with-a-career-in-cybersecurity/</a:t>
            </a:r>
          </a:p>
          <a:p>
            <a:r>
              <a:rPr lang="en-US" sz="1400" dirty="0">
                <a:solidFill>
                  <a:schemeClr val="bg1">
                    <a:lumMod val="50000"/>
                  </a:schemeClr>
                </a:solidFill>
                <a:latin typeface="+mn-lt"/>
              </a:rPr>
              <a:t>https://www.wired.com/2016/05/maksym-igor-popov-fbi/</a:t>
            </a:r>
          </a:p>
          <a:p>
            <a:r>
              <a:rPr lang="en-US" sz="1400" dirty="0">
                <a:solidFill>
                  <a:schemeClr val="bg1">
                    <a:lumMod val="50000"/>
                  </a:schemeClr>
                </a:solidFill>
                <a:latin typeface="+mn-lt"/>
              </a:rPr>
              <a:t>http://resources.infosecinstitute.com/a-history-of-anonymous/</a:t>
            </a:r>
          </a:p>
          <a:p>
            <a:r>
              <a:rPr lang="en-US" sz="1400" dirty="0">
                <a:solidFill>
                  <a:schemeClr val="bg1">
                    <a:lumMod val="50000"/>
                  </a:schemeClr>
                </a:solidFill>
                <a:latin typeface="+mn-lt"/>
              </a:rPr>
              <a:t>https://www.wired.com/2015/12/2015-the-year-the-internet-of-things-got-hacked/</a:t>
            </a:r>
          </a:p>
          <a:p>
            <a:r>
              <a:rPr lang="en-US" sz="1400" dirty="0">
                <a:solidFill>
                  <a:schemeClr val="bg1">
                    <a:lumMod val="50000"/>
                  </a:schemeClr>
                </a:solidFill>
                <a:latin typeface="+mn-lt"/>
              </a:rPr>
              <a:t>http://krebsonsecurity.com/2014/02/target-hackers-broke-in-via-hvac-company/</a:t>
            </a:r>
          </a:p>
          <a:p>
            <a:r>
              <a:rPr lang="en-US" sz="1400" dirty="0">
                <a:solidFill>
                  <a:schemeClr val="bg1">
                    <a:lumMod val="50000"/>
                  </a:schemeClr>
                </a:solidFill>
                <a:latin typeface="+mn-lt"/>
              </a:rPr>
              <a:t>https://www.wifipineapple.com/</a:t>
            </a:r>
          </a:p>
          <a:p>
            <a:r>
              <a:rPr lang="en-US" sz="1400" dirty="0">
                <a:solidFill>
                  <a:schemeClr val="bg1">
                    <a:lumMod val="50000"/>
                  </a:schemeClr>
                </a:solidFill>
                <a:latin typeface="+mn-lt"/>
              </a:rPr>
              <a:t>http://www.idtheftcenter.org/Cybersecurity/how-wifi-hotspot-hacks-occur.html</a:t>
            </a:r>
          </a:p>
          <a:p>
            <a:r>
              <a:rPr lang="en-US" sz="1400" dirty="0">
                <a:solidFill>
                  <a:schemeClr val="bg1">
                    <a:lumMod val="50000"/>
                  </a:schemeClr>
                </a:solidFill>
                <a:latin typeface="+mn-lt"/>
              </a:rPr>
              <a:t>https://www.washingtonpost.com/news/the-switch/wp/2014/12/18/the-sony-pictures-hack-explained/</a:t>
            </a:r>
          </a:p>
          <a:p>
            <a:r>
              <a:rPr lang="en-US" sz="1400" dirty="0">
                <a:solidFill>
                  <a:schemeClr val="bg1">
                    <a:lumMod val="50000"/>
                  </a:schemeClr>
                </a:solidFill>
                <a:latin typeface="+mn-lt"/>
              </a:rPr>
              <a:t>http://fortune.com/sony-hack-part-1/</a:t>
            </a:r>
          </a:p>
          <a:p>
            <a:r>
              <a:rPr lang="en-US" sz="1400" dirty="0">
                <a:solidFill>
                  <a:schemeClr val="bg1">
                    <a:lumMod val="50000"/>
                  </a:schemeClr>
                </a:solidFill>
                <a:latin typeface="+mn-lt"/>
              </a:rPr>
              <a:t>http://www.bbc.com/news/entertainment-arts-30512032</a:t>
            </a:r>
          </a:p>
          <a:p>
            <a:r>
              <a:rPr lang="en-US" sz="1400" dirty="0">
                <a:solidFill>
                  <a:schemeClr val="bg1">
                    <a:lumMod val="50000"/>
                  </a:schemeClr>
                </a:solidFill>
                <a:latin typeface="+mn-lt"/>
              </a:rPr>
              <a:t>http://www.computerworld.com/article/2474275/cybercrime-hacking/17-exploits-the-nsa-uses-to-hack-pcs--routers-and-servers-for-surveillance.html</a:t>
            </a:r>
          </a:p>
          <a:p>
            <a:r>
              <a:rPr lang="en-US" sz="1400" dirty="0">
                <a:solidFill>
                  <a:schemeClr val="bg1">
                    <a:lumMod val="50000"/>
                  </a:schemeClr>
                </a:solidFill>
                <a:latin typeface="+mn-lt"/>
              </a:rPr>
              <a:t>http://resources.infosecinstitute.com/a-history-of-anonymous/</a:t>
            </a:r>
          </a:p>
          <a:p>
            <a:r>
              <a:rPr lang="en-US" sz="1400" dirty="0">
                <a:solidFill>
                  <a:schemeClr val="bg1">
                    <a:lumMod val="50000"/>
                  </a:schemeClr>
                </a:solidFill>
                <a:latin typeface="+mn-lt"/>
              </a:rPr>
              <a:t>https://www2.deloitte.com/content/dam/Deloitte/lu/Documents/risk/lu-managing-social-media-risks-reputation-risk-03032015.pdf</a:t>
            </a:r>
          </a:p>
        </p:txBody>
      </p:sp>
      <p:sp>
        <p:nvSpPr>
          <p:cNvPr id="3" name="Title 2"/>
          <p:cNvSpPr>
            <a:spLocks noGrp="1"/>
          </p:cNvSpPr>
          <p:nvPr>
            <p:ph type="title"/>
          </p:nvPr>
        </p:nvSpPr>
        <p:spPr/>
        <p:txBody>
          <a:bodyPr/>
          <a:lstStyle/>
          <a:p>
            <a:r>
              <a:rPr lang="en-US" sz="4800" dirty="0"/>
              <a:t>References</a:t>
            </a:r>
            <a:endParaRPr lang="en-US" dirty="0"/>
          </a:p>
        </p:txBody>
      </p:sp>
    </p:spTree>
    <p:extLst>
      <p:ext uri="{BB962C8B-B14F-4D97-AF65-F5344CB8AC3E}">
        <p14:creationId xmlns:p14="http://schemas.microsoft.com/office/powerpoint/2010/main" val="148963397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72"/>
          <p:cNvSpPr/>
          <p:nvPr/>
        </p:nvSpPr>
        <p:spPr bwMode="auto">
          <a:xfrm>
            <a:off x="7886700" y="1635558"/>
            <a:ext cx="3828830" cy="3318328"/>
          </a:xfrm>
          <a:prstGeom prst="rect">
            <a:avLst/>
          </a:prstGeom>
          <a:noFill/>
          <a:ln w="6350">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0" y="311813"/>
            <a:ext cx="11655840" cy="899665"/>
          </a:xfrm>
        </p:spPr>
        <p:txBody>
          <a:bodyPr/>
          <a:lstStyle/>
          <a:p>
            <a:r>
              <a:rPr lang="en-US" sz="4800" dirty="0"/>
              <a:t>When Sony Pictures was hacked</a:t>
            </a:r>
          </a:p>
        </p:txBody>
      </p:sp>
      <p:pic>
        <p:nvPicPr>
          <p:cNvPr id="4" name="Picture 1"/>
          <p:cNvPicPr>
            <a:picLocks noChangeAspect="1"/>
          </p:cNvPicPr>
          <p:nvPr/>
        </p:nvPicPr>
        <p:blipFill rotWithShape="1">
          <a:blip r:embed="rId3"/>
          <a:srcRect b="35277"/>
          <a:stretch/>
        </p:blipFill>
        <p:spPr>
          <a:xfrm>
            <a:off x="8112979" y="1912241"/>
            <a:ext cx="3387778" cy="1552122"/>
          </a:xfrm>
          <a:prstGeom prst="rect">
            <a:avLst/>
          </a:prstGeom>
          <a:solidFill>
            <a:schemeClr val="accent2"/>
          </a:solidFill>
        </p:spPr>
      </p:pic>
      <p:sp>
        <p:nvSpPr>
          <p:cNvPr id="5" name="Rectangle 74"/>
          <p:cNvSpPr/>
          <p:nvPr/>
        </p:nvSpPr>
        <p:spPr>
          <a:xfrm>
            <a:off x="8074879" y="3597270"/>
            <a:ext cx="3420435" cy="1169551"/>
          </a:xfrm>
          <a:prstGeom prst="rect">
            <a:avLst/>
          </a:prstGeom>
          <a:noFill/>
        </p:spPr>
        <p:txBody>
          <a:bodyPr wrap="square">
            <a:spAutoFit/>
          </a:bodyPr>
          <a:lstStyle/>
          <a:p>
            <a:r>
              <a:rPr lang="en-US" sz="1400" i="1" dirty="0"/>
              <a:t>'Warning: We've already warned you, and this is just a beginning. We continue till our request be met. We've obtained all your internal data including your secrets and top secret.'</a:t>
            </a:r>
          </a:p>
        </p:txBody>
      </p:sp>
      <p:sp>
        <p:nvSpPr>
          <p:cNvPr id="6" name="TextBox 5"/>
          <p:cNvSpPr txBox="1"/>
          <p:nvPr/>
        </p:nvSpPr>
        <p:spPr>
          <a:xfrm>
            <a:off x="269239" y="897546"/>
            <a:ext cx="11062789"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In 2014, Sony Pictures was hacked by North Korea in attempt to stop the release of the movie</a:t>
            </a:r>
            <a:r>
              <a:rPr lang="en-US" sz="2400">
                <a:gradFill>
                  <a:gsLst>
                    <a:gs pos="2917">
                      <a:schemeClr val="tx1"/>
                    </a:gs>
                    <a:gs pos="30000">
                      <a:schemeClr val="tx1"/>
                    </a:gs>
                  </a:gsLst>
                  <a:lin ang="5400000" scaled="0"/>
                </a:gradFill>
                <a:latin typeface="+mj-lt"/>
              </a:rPr>
              <a:t>, “</a:t>
            </a:r>
            <a:r>
              <a:rPr lang="en-US" sz="2400" dirty="0">
                <a:gradFill>
                  <a:gsLst>
                    <a:gs pos="2917">
                      <a:schemeClr val="tx1"/>
                    </a:gs>
                    <a:gs pos="30000">
                      <a:schemeClr val="tx1"/>
                    </a:gs>
                  </a:gsLst>
                  <a:lin ang="5400000" scaled="0"/>
                </a:gradFill>
                <a:latin typeface="+mj-lt"/>
              </a:rPr>
              <a:t>The Interview”</a:t>
            </a:r>
            <a:endParaRPr lang="en-US" sz="2400" dirty="0">
              <a:gradFill>
                <a:gsLst>
                  <a:gs pos="2917">
                    <a:schemeClr val="tx1"/>
                  </a:gs>
                  <a:gs pos="30000">
                    <a:schemeClr val="tx1"/>
                  </a:gs>
                </a:gsLst>
                <a:lin ang="5400000" scaled="0"/>
              </a:gradFill>
            </a:endParaRPr>
          </a:p>
        </p:txBody>
      </p:sp>
      <p:cxnSp>
        <p:nvCxnSpPr>
          <p:cNvPr id="12" name="Straight Connector 10"/>
          <p:cNvCxnSpPr/>
          <p:nvPr/>
        </p:nvCxnSpPr>
        <p:spPr>
          <a:xfrm>
            <a:off x="3698565" y="2314100"/>
            <a:ext cx="0" cy="2902959"/>
          </a:xfrm>
          <a:prstGeom prst="line">
            <a:avLst/>
          </a:prstGeom>
          <a:ln>
            <a:solidFill>
              <a:schemeClr val="tx2"/>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21" name="Rectangle 31"/>
          <p:cNvSpPr/>
          <p:nvPr/>
        </p:nvSpPr>
        <p:spPr bwMode="auto">
          <a:xfrm>
            <a:off x="612465" y="2314100"/>
            <a:ext cx="2724150" cy="457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chemeClr val="tx1"/>
                </a:solidFill>
                <a:ea typeface="Segoe UI" pitchFamily="34" charset="0"/>
                <a:cs typeface="Segoe UI" pitchFamily="34" charset="0"/>
              </a:rPr>
              <a:t>Sony receives email from “God’s Apostles”</a:t>
            </a:r>
          </a:p>
        </p:txBody>
      </p:sp>
      <p:sp>
        <p:nvSpPr>
          <p:cNvPr id="22" name="Rectangle 32"/>
          <p:cNvSpPr/>
          <p:nvPr/>
        </p:nvSpPr>
        <p:spPr bwMode="auto">
          <a:xfrm>
            <a:off x="4071402" y="2635407"/>
            <a:ext cx="2724150" cy="457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chemeClr val="tx1"/>
                </a:solidFill>
                <a:ea typeface="Segoe UI" pitchFamily="34" charset="0"/>
                <a:cs typeface="Segoe UI" pitchFamily="34" charset="0"/>
              </a:rPr>
              <a:t>Wiper activates</a:t>
            </a:r>
          </a:p>
        </p:txBody>
      </p:sp>
      <p:sp>
        <p:nvSpPr>
          <p:cNvPr id="23" name="Rectangle 33"/>
          <p:cNvSpPr/>
          <p:nvPr/>
        </p:nvSpPr>
        <p:spPr bwMode="auto">
          <a:xfrm>
            <a:off x="612465" y="2925540"/>
            <a:ext cx="2724150" cy="457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chemeClr val="tx1"/>
                </a:solidFill>
                <a:ea typeface="Segoe UI" pitchFamily="34" charset="0"/>
                <a:cs typeface="Segoe UI" pitchFamily="34" charset="0"/>
              </a:rPr>
              <a:t>“Guardians of Peace” claim credit and </a:t>
            </a:r>
            <a:r>
              <a:rPr lang="en-US" sz="1400">
                <a:solidFill>
                  <a:schemeClr val="tx1"/>
                </a:solidFill>
                <a:ea typeface="Segoe UI" pitchFamily="34" charset="0"/>
                <a:cs typeface="Segoe UI" pitchFamily="34" charset="0"/>
              </a:rPr>
              <a:t>release movies</a:t>
            </a:r>
            <a:endParaRPr lang="en-US" sz="1400" dirty="0">
              <a:solidFill>
                <a:schemeClr val="tx1"/>
              </a:solidFill>
              <a:ea typeface="Segoe UI" pitchFamily="34" charset="0"/>
              <a:cs typeface="Segoe UI" pitchFamily="34" charset="0"/>
            </a:endParaRPr>
          </a:p>
        </p:txBody>
      </p:sp>
      <p:sp>
        <p:nvSpPr>
          <p:cNvPr id="24" name="Rectangle 43"/>
          <p:cNvSpPr/>
          <p:nvPr/>
        </p:nvSpPr>
        <p:spPr bwMode="auto">
          <a:xfrm>
            <a:off x="4071402" y="3223795"/>
            <a:ext cx="2724150" cy="457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chemeClr val="tx1"/>
                </a:solidFill>
                <a:ea typeface="Segoe UI" pitchFamily="34" charset="0"/>
                <a:cs typeface="Segoe UI" pitchFamily="34" charset="0"/>
              </a:rPr>
              <a:t>FBI sends flash alert</a:t>
            </a:r>
          </a:p>
        </p:txBody>
      </p:sp>
      <p:sp>
        <p:nvSpPr>
          <p:cNvPr id="25" name="Rectangle 44"/>
          <p:cNvSpPr/>
          <p:nvPr/>
        </p:nvSpPr>
        <p:spPr bwMode="auto">
          <a:xfrm>
            <a:off x="612465" y="3536980"/>
            <a:ext cx="2724150" cy="457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a:solidFill>
                  <a:schemeClr val="tx1"/>
                </a:solidFill>
                <a:ea typeface="Segoe UI" pitchFamily="34" charset="0"/>
                <a:cs typeface="Segoe UI" pitchFamily="34" charset="0"/>
              </a:rPr>
              <a:t>Destover</a:t>
            </a:r>
            <a:r>
              <a:rPr lang="en-US" sz="1400" dirty="0">
                <a:solidFill>
                  <a:schemeClr val="tx1"/>
                </a:solidFill>
                <a:ea typeface="Segoe UI" pitchFamily="34" charset="0"/>
                <a:cs typeface="Segoe UI" pitchFamily="34" charset="0"/>
              </a:rPr>
              <a:t> Malware detected</a:t>
            </a:r>
          </a:p>
        </p:txBody>
      </p:sp>
      <p:sp>
        <p:nvSpPr>
          <p:cNvPr id="26" name="Rectangle 45"/>
          <p:cNvSpPr/>
          <p:nvPr/>
        </p:nvSpPr>
        <p:spPr bwMode="auto">
          <a:xfrm>
            <a:off x="4071402" y="3812183"/>
            <a:ext cx="2724150" cy="457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chemeClr val="tx1"/>
                </a:solidFill>
                <a:ea typeface="Segoe UI" pitchFamily="34" charset="0"/>
                <a:cs typeface="Segoe UI" pitchFamily="34" charset="0"/>
              </a:rPr>
              <a:t>GOP release Sony Exec emails</a:t>
            </a:r>
          </a:p>
        </p:txBody>
      </p:sp>
      <p:sp>
        <p:nvSpPr>
          <p:cNvPr id="27" name="Rectangle 46"/>
          <p:cNvSpPr/>
          <p:nvPr/>
        </p:nvSpPr>
        <p:spPr bwMode="auto">
          <a:xfrm>
            <a:off x="612465" y="4148420"/>
            <a:ext cx="2724150" cy="457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a:solidFill>
                  <a:schemeClr val="tx1"/>
                </a:solidFill>
                <a:ea typeface="Segoe UI" pitchFamily="34" charset="0"/>
                <a:cs typeface="Segoe UI" pitchFamily="34" charset="0"/>
              </a:rPr>
              <a:t>Sony gets lawsuit </a:t>
            </a:r>
            <a:r>
              <a:rPr lang="en-US" sz="1400" dirty="0">
                <a:solidFill>
                  <a:schemeClr val="tx1"/>
                </a:solidFill>
                <a:ea typeface="Segoe UI" pitchFamily="34" charset="0"/>
                <a:cs typeface="Segoe UI" pitchFamily="34" charset="0"/>
              </a:rPr>
              <a:t>for not protecting client data</a:t>
            </a:r>
          </a:p>
        </p:txBody>
      </p:sp>
      <p:sp>
        <p:nvSpPr>
          <p:cNvPr id="28" name="Rectangle 47"/>
          <p:cNvSpPr/>
          <p:nvPr/>
        </p:nvSpPr>
        <p:spPr bwMode="auto">
          <a:xfrm>
            <a:off x="4071402" y="4400571"/>
            <a:ext cx="2724150" cy="457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chemeClr val="tx1"/>
                </a:solidFill>
                <a:ea typeface="Segoe UI" pitchFamily="34" charset="0"/>
                <a:cs typeface="Segoe UI" pitchFamily="34" charset="0"/>
              </a:rPr>
              <a:t>Sony cancels movie release, The Interview</a:t>
            </a:r>
          </a:p>
        </p:txBody>
      </p:sp>
      <p:sp>
        <p:nvSpPr>
          <p:cNvPr id="29" name="Rectangle 48"/>
          <p:cNvSpPr/>
          <p:nvPr/>
        </p:nvSpPr>
        <p:spPr bwMode="auto">
          <a:xfrm>
            <a:off x="612465" y="4759859"/>
            <a:ext cx="2724150" cy="457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chemeClr val="tx1"/>
                </a:solidFill>
                <a:ea typeface="Segoe UI" pitchFamily="34" charset="0"/>
                <a:cs typeface="Segoe UI" pitchFamily="34" charset="0"/>
              </a:rPr>
              <a:t>FBI blames North Korea due to IP addresses of hackers</a:t>
            </a:r>
          </a:p>
        </p:txBody>
      </p:sp>
      <p:cxnSp>
        <p:nvCxnSpPr>
          <p:cNvPr id="35" name="Straight Connector 49"/>
          <p:cNvCxnSpPr/>
          <p:nvPr/>
        </p:nvCxnSpPr>
        <p:spPr>
          <a:xfrm>
            <a:off x="3336615" y="2534536"/>
            <a:ext cx="365760"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50"/>
          <p:cNvCxnSpPr/>
          <p:nvPr/>
        </p:nvCxnSpPr>
        <p:spPr>
          <a:xfrm>
            <a:off x="3336615" y="4953886"/>
            <a:ext cx="365760"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51"/>
          <p:cNvCxnSpPr/>
          <p:nvPr/>
        </p:nvCxnSpPr>
        <p:spPr>
          <a:xfrm>
            <a:off x="3336615" y="3139374"/>
            <a:ext cx="365760"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52"/>
          <p:cNvCxnSpPr/>
          <p:nvPr/>
        </p:nvCxnSpPr>
        <p:spPr>
          <a:xfrm>
            <a:off x="3336615" y="3744211"/>
            <a:ext cx="365760"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53"/>
          <p:cNvCxnSpPr/>
          <p:nvPr/>
        </p:nvCxnSpPr>
        <p:spPr>
          <a:xfrm>
            <a:off x="3336615" y="4349048"/>
            <a:ext cx="365760"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54"/>
          <p:cNvCxnSpPr/>
          <p:nvPr/>
        </p:nvCxnSpPr>
        <p:spPr>
          <a:xfrm>
            <a:off x="3705642" y="2866550"/>
            <a:ext cx="365760"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55"/>
          <p:cNvCxnSpPr/>
          <p:nvPr/>
        </p:nvCxnSpPr>
        <p:spPr>
          <a:xfrm>
            <a:off x="3705642" y="3453925"/>
            <a:ext cx="365760"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56"/>
          <p:cNvCxnSpPr/>
          <p:nvPr/>
        </p:nvCxnSpPr>
        <p:spPr>
          <a:xfrm>
            <a:off x="3705642" y="4041300"/>
            <a:ext cx="365760"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57"/>
          <p:cNvCxnSpPr/>
          <p:nvPr/>
        </p:nvCxnSpPr>
        <p:spPr>
          <a:xfrm>
            <a:off x="3705642" y="4628675"/>
            <a:ext cx="365760"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68"/>
          <p:cNvSpPr txBox="1"/>
          <p:nvPr/>
        </p:nvSpPr>
        <p:spPr>
          <a:xfrm>
            <a:off x="822015" y="1635558"/>
            <a:ext cx="5753100"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b="1" i="1" dirty="0">
                <a:gradFill>
                  <a:gsLst>
                    <a:gs pos="2917">
                      <a:schemeClr val="tx1"/>
                    </a:gs>
                    <a:gs pos="30000">
                      <a:schemeClr val="tx1"/>
                    </a:gs>
                  </a:gsLst>
                  <a:lin ang="5400000" scaled="0"/>
                </a:gradFill>
              </a:rPr>
              <a:t>Timeline of Events</a:t>
            </a:r>
          </a:p>
        </p:txBody>
      </p:sp>
      <p:sp>
        <p:nvSpPr>
          <p:cNvPr id="48" name="Rectangle 69"/>
          <p:cNvSpPr/>
          <p:nvPr/>
        </p:nvSpPr>
        <p:spPr bwMode="auto">
          <a:xfrm>
            <a:off x="607022" y="5695689"/>
            <a:ext cx="2231428" cy="8572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ea typeface="Segoe UI" pitchFamily="34" charset="0"/>
                <a:cs typeface="Segoe UI" pitchFamily="34" charset="0"/>
              </a:rPr>
              <a:t>OUTCOMES</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50" name="Elbow Connector 75"/>
          <p:cNvCxnSpPr>
            <a:stCxn id="21" idx="1"/>
          </p:cNvCxnSpPr>
          <p:nvPr/>
        </p:nvCxnSpPr>
        <p:spPr>
          <a:xfrm rot="10800000" flipH="1" flipV="1">
            <a:off x="612465" y="2542700"/>
            <a:ext cx="7274234" cy="228600"/>
          </a:xfrm>
          <a:prstGeom prst="bentConnector5">
            <a:avLst>
              <a:gd name="adj1" fmla="val -3143"/>
              <a:gd name="adj2" fmla="val -200000"/>
              <a:gd name="adj3" fmla="val 91771"/>
            </a:avLst>
          </a:prstGeom>
          <a:ln w="38100">
            <a:solidFill>
              <a:schemeClr val="tx1">
                <a:lumMod val="40000"/>
                <a:lumOff val="6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Rectangle 76"/>
          <p:cNvSpPr/>
          <p:nvPr/>
        </p:nvSpPr>
        <p:spPr bwMode="auto">
          <a:xfrm>
            <a:off x="3434539" y="5695689"/>
            <a:ext cx="2709182" cy="8572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b="1" dirty="0">
                <a:gradFill>
                  <a:gsLst>
                    <a:gs pos="0">
                      <a:srgbClr val="FFFFFF"/>
                    </a:gs>
                    <a:gs pos="100000">
                      <a:srgbClr val="FFFFFF"/>
                    </a:gs>
                  </a:gsLst>
                  <a:lin ang="5400000" scaled="0"/>
                </a:gradFill>
                <a:ea typeface="Segoe UI" pitchFamily="34" charset="0"/>
                <a:cs typeface="Segoe UI" pitchFamily="34" charset="0"/>
              </a:rPr>
              <a:t>Reputation</a:t>
            </a:r>
          </a:p>
          <a:p>
            <a:pPr defTabSz="932472" fontAlgn="base">
              <a:lnSpc>
                <a:spcPct val="90000"/>
              </a:lnSpc>
              <a:spcBef>
                <a:spcPct val="0"/>
              </a:spcBef>
              <a:spcAft>
                <a:spcPct val="0"/>
              </a:spcAft>
            </a:pPr>
            <a:r>
              <a:rPr lang="en-US" sz="2000" b="1" dirty="0">
                <a:gradFill>
                  <a:gsLst>
                    <a:gs pos="0">
                      <a:srgbClr val="FFFFFF"/>
                    </a:gs>
                    <a:gs pos="100000">
                      <a:srgbClr val="FFFFFF"/>
                    </a:gs>
                  </a:gsLst>
                  <a:lin ang="5400000" scaled="0"/>
                </a:gradFill>
                <a:ea typeface="Segoe UI" pitchFamily="34" charset="0"/>
                <a:cs typeface="Segoe UI" pitchFamily="34" charset="0"/>
              </a:rPr>
              <a:t>Damaged</a:t>
            </a:r>
          </a:p>
        </p:txBody>
      </p:sp>
      <p:sp>
        <p:nvSpPr>
          <p:cNvPr id="58" name="Rectangle 77"/>
          <p:cNvSpPr/>
          <p:nvPr/>
        </p:nvSpPr>
        <p:spPr bwMode="auto">
          <a:xfrm>
            <a:off x="6241644" y="5695689"/>
            <a:ext cx="2709182" cy="8572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b="1" dirty="0">
                <a:gradFill>
                  <a:gsLst>
                    <a:gs pos="0">
                      <a:srgbClr val="FFFFFF"/>
                    </a:gs>
                    <a:gs pos="100000">
                      <a:srgbClr val="FFFFFF"/>
                    </a:gs>
                  </a:gsLst>
                  <a:lin ang="5400000" scaled="0"/>
                </a:gradFill>
                <a:ea typeface="Segoe UI" pitchFamily="34" charset="0"/>
                <a:cs typeface="Segoe UI" pitchFamily="34" charset="0"/>
              </a:rPr>
              <a:t>Financial</a:t>
            </a:r>
          </a:p>
          <a:p>
            <a:pPr defTabSz="932472" fontAlgn="base">
              <a:lnSpc>
                <a:spcPct val="90000"/>
              </a:lnSpc>
              <a:spcBef>
                <a:spcPct val="0"/>
              </a:spcBef>
              <a:spcAft>
                <a:spcPct val="0"/>
              </a:spcAft>
            </a:pPr>
            <a:r>
              <a:rPr lang="en-US" sz="2000" b="1" dirty="0">
                <a:gradFill>
                  <a:gsLst>
                    <a:gs pos="0">
                      <a:srgbClr val="FFFFFF"/>
                    </a:gs>
                    <a:gs pos="100000">
                      <a:srgbClr val="FFFFFF"/>
                    </a:gs>
                  </a:gsLst>
                  <a:lin ang="5400000" scaled="0"/>
                </a:gradFill>
                <a:ea typeface="Segoe UI" pitchFamily="34" charset="0"/>
                <a:cs typeface="Segoe UI" pitchFamily="34" charset="0"/>
              </a:rPr>
              <a:t>Implications</a:t>
            </a:r>
          </a:p>
        </p:txBody>
      </p:sp>
      <p:sp>
        <p:nvSpPr>
          <p:cNvPr id="59" name="Rectangle 78"/>
          <p:cNvSpPr/>
          <p:nvPr/>
        </p:nvSpPr>
        <p:spPr bwMode="auto">
          <a:xfrm>
            <a:off x="9048750" y="5695689"/>
            <a:ext cx="2876330" cy="8572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b="1" dirty="0">
                <a:gradFill>
                  <a:gsLst>
                    <a:gs pos="0">
                      <a:srgbClr val="FFFFFF"/>
                    </a:gs>
                    <a:gs pos="100000">
                      <a:srgbClr val="FFFFFF"/>
                    </a:gs>
                  </a:gsLst>
                  <a:lin ang="5400000" scaled="0"/>
                </a:gradFill>
                <a:ea typeface="Segoe UI" pitchFamily="34" charset="0"/>
                <a:cs typeface="Segoe UI" pitchFamily="34" charset="0"/>
              </a:rPr>
              <a:t>Company Secrets Revealed</a:t>
            </a:r>
          </a:p>
        </p:txBody>
      </p:sp>
      <p:sp>
        <p:nvSpPr>
          <p:cNvPr id="60" name="Isosceles Triangle 79"/>
          <p:cNvSpPr/>
          <p:nvPr/>
        </p:nvSpPr>
        <p:spPr bwMode="auto">
          <a:xfrm rot="5400000">
            <a:off x="2581275" y="5952866"/>
            <a:ext cx="857250" cy="34290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Freeform 102"/>
          <p:cNvSpPr>
            <a:spLocks noChangeAspect="1"/>
          </p:cNvSpPr>
          <p:nvPr/>
        </p:nvSpPr>
        <p:spPr bwMode="black">
          <a:xfrm flipV="1">
            <a:off x="5687618" y="5917159"/>
            <a:ext cx="303616" cy="414310"/>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34" name="Freeform 102"/>
          <p:cNvSpPr>
            <a:spLocks noChangeAspect="1"/>
          </p:cNvSpPr>
          <p:nvPr/>
        </p:nvSpPr>
        <p:spPr bwMode="black">
          <a:xfrm flipV="1">
            <a:off x="8504407" y="5927666"/>
            <a:ext cx="303616" cy="414310"/>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44" name="Freeform 102"/>
          <p:cNvSpPr>
            <a:spLocks noChangeAspect="1"/>
          </p:cNvSpPr>
          <p:nvPr/>
        </p:nvSpPr>
        <p:spPr bwMode="black">
          <a:xfrm flipV="1">
            <a:off x="11507739" y="5927666"/>
            <a:ext cx="303616" cy="414310"/>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Tree>
    <p:extLst>
      <p:ext uri="{BB962C8B-B14F-4D97-AF65-F5344CB8AC3E}">
        <p14:creationId xmlns:p14="http://schemas.microsoft.com/office/powerpoint/2010/main" val="27350742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0978199" cy="4156207"/>
          </a:xfrm>
        </p:spPr>
        <p:txBody>
          <a:bodyPr/>
          <a:lstStyle/>
          <a:p>
            <a:r>
              <a:rPr lang="en-US" dirty="0"/>
              <a:t>Cybersecurity</a:t>
            </a:r>
            <a:br>
              <a:rPr lang="en-US" dirty="0"/>
            </a:br>
            <a:r>
              <a:rPr lang="en-US" dirty="0"/>
              <a:t>… why does it matter?</a:t>
            </a:r>
          </a:p>
        </p:txBody>
      </p:sp>
    </p:spTree>
    <p:extLst>
      <p:ext uri="{BB962C8B-B14F-4D97-AF65-F5344CB8AC3E}">
        <p14:creationId xmlns:p14="http://schemas.microsoft.com/office/powerpoint/2010/main" val="237780257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The story of </a:t>
            </a:r>
            <a:r>
              <a:rPr lang="en-US" sz="4800"/>
              <a:t>a 20-year-old Ukrainian hacker</a:t>
            </a:r>
            <a:endParaRPr lang="en-US" sz="4800" dirty="0"/>
          </a:p>
        </p:txBody>
      </p:sp>
      <p:grpSp>
        <p:nvGrpSpPr>
          <p:cNvPr id="14" name="Group 13"/>
          <p:cNvGrpSpPr/>
          <p:nvPr/>
        </p:nvGrpSpPr>
        <p:grpSpPr>
          <a:xfrm>
            <a:off x="593090" y="1278597"/>
            <a:ext cx="5140960" cy="2945355"/>
            <a:chOff x="593090" y="1278597"/>
            <a:chExt cx="5140960" cy="2945355"/>
          </a:xfrm>
        </p:grpSpPr>
        <p:grpSp>
          <p:nvGrpSpPr>
            <p:cNvPr id="12" name="Group 11"/>
            <p:cNvGrpSpPr/>
            <p:nvPr/>
          </p:nvGrpSpPr>
          <p:grpSpPr>
            <a:xfrm>
              <a:off x="1300846" y="1455876"/>
              <a:ext cx="3233558" cy="2590800"/>
              <a:chOff x="8283961" y="1513026"/>
              <a:chExt cx="3233558" cy="2590800"/>
            </a:xfrm>
          </p:grpSpPr>
          <p:sp>
            <p:nvSpPr>
              <p:cNvPr id="4" name="Rectangle 3"/>
              <p:cNvSpPr/>
              <p:nvPr/>
            </p:nvSpPr>
            <p:spPr bwMode="auto">
              <a:xfrm>
                <a:off x="8343900" y="1513026"/>
                <a:ext cx="3173619" cy="259080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descr="http://upload.wikimedia.org/wikipedia/commons/f/f8/Europe_map_ukraine.png"/>
              <p:cNvPicPr>
                <a:picLocks noChangeAspect="1" noChangeArrowheads="1"/>
              </p:cNvPicPr>
              <p:nvPr/>
            </p:nvPicPr>
            <p:blipFill>
              <a:blip r:embed="rId3" cstate="print">
                <a:clrChange>
                  <a:clrFrom>
                    <a:srgbClr val="C0C0C0"/>
                  </a:clrFrom>
                  <a:clrTo>
                    <a:srgbClr val="C0C0C0">
                      <a:alpha val="0"/>
                    </a:srgbClr>
                  </a:clrTo>
                </a:clrChange>
                <a:extLst>
                  <a:ext uri="{28A0092B-C50C-407E-A947-70E740481C1C}">
                    <a14:useLocalDpi xmlns:a14="http://schemas.microsoft.com/office/drawing/2010/main" val="0"/>
                  </a:ext>
                </a:extLst>
              </a:blip>
              <a:srcRect/>
              <a:stretch>
                <a:fillRect/>
              </a:stretch>
            </p:blipFill>
            <p:spPr bwMode="auto">
              <a:xfrm>
                <a:off x="8283961" y="1513026"/>
                <a:ext cx="3233558" cy="2590800"/>
              </a:xfrm>
              <a:prstGeom prst="rect">
                <a:avLst/>
              </a:prstGeom>
              <a:noFill/>
              <a:extLst>
                <a:ext uri="{909E8E84-426E-40DD-AFC4-6F175D3DCCD1}">
                  <a14:hiddenFill xmlns:a14="http://schemas.microsoft.com/office/drawing/2010/main">
                    <a:solidFill>
                      <a:srgbClr val="FFFFFF"/>
                    </a:solidFill>
                  </a14:hiddenFill>
                </a:ext>
              </a:extLst>
            </p:spPr>
          </p:pic>
        </p:grpSp>
        <p:sp>
          <p:nvSpPr>
            <p:cNvPr id="13" name="Moon 12"/>
            <p:cNvSpPr/>
            <p:nvPr/>
          </p:nvSpPr>
          <p:spPr bwMode="auto">
            <a:xfrm rot="10800000">
              <a:off x="2429966" y="1278597"/>
              <a:ext cx="3304084" cy="2945354"/>
            </a:xfrm>
            <a:prstGeom prst="moon">
              <a:avLst>
                <a:gd name="adj" fmla="val 34266"/>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Moon 15"/>
            <p:cNvSpPr/>
            <p:nvPr/>
          </p:nvSpPr>
          <p:spPr bwMode="auto">
            <a:xfrm>
              <a:off x="596759" y="1278599"/>
              <a:ext cx="2962326" cy="2945353"/>
            </a:xfrm>
            <a:prstGeom prst="moon">
              <a:avLst>
                <a:gd name="adj" fmla="val 27536"/>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0"/>
            <p:cNvGrpSpPr/>
            <p:nvPr/>
          </p:nvGrpSpPr>
          <p:grpSpPr>
            <a:xfrm>
              <a:off x="593090" y="1387752"/>
              <a:ext cx="1836876" cy="1836876"/>
              <a:chOff x="7061855" y="1455876"/>
              <a:chExt cx="1836876" cy="1836876"/>
            </a:xfrm>
          </p:grpSpPr>
          <p:sp>
            <p:nvSpPr>
              <p:cNvPr id="8" name="Oval 7"/>
              <p:cNvSpPr/>
              <p:nvPr/>
            </p:nvSpPr>
            <p:spPr bwMode="auto">
              <a:xfrm>
                <a:off x="7061855" y="1455876"/>
                <a:ext cx="1836876" cy="1836876"/>
              </a:xfrm>
              <a:prstGeom prst="ellipse">
                <a:avLst/>
              </a:prstGeom>
              <a:solidFill>
                <a:schemeClr val="bg1">
                  <a:lumMod val="95000"/>
                </a:schemeClr>
              </a:solidFill>
              <a:ln>
                <a:solidFill>
                  <a:schemeClr val="tx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Oval 9"/>
              <p:cNvSpPr/>
              <p:nvPr/>
            </p:nvSpPr>
            <p:spPr bwMode="auto">
              <a:xfrm>
                <a:off x="7230924" y="1638300"/>
                <a:ext cx="1498738" cy="1498738"/>
              </a:xfrm>
              <a:prstGeom prst="ellipse">
                <a:avLst/>
              </a:prstGeom>
              <a:solidFill>
                <a:schemeClr val="bg1"/>
              </a:solidFill>
              <a:ln>
                <a:solidFill>
                  <a:schemeClr val="tx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p:nvPicPr>
            <p:blipFill>
              <a:blip r:embed="rId4"/>
              <a:stretch>
                <a:fillRect/>
              </a:stretch>
            </p:blipFill>
            <p:spPr>
              <a:xfrm>
                <a:off x="7467600" y="1884501"/>
                <a:ext cx="1028700" cy="1047750"/>
              </a:xfrm>
              <a:prstGeom prst="rect">
                <a:avLst/>
              </a:prstGeom>
            </p:spPr>
          </p:pic>
        </p:grpSp>
      </p:grpSp>
      <p:pic>
        <p:nvPicPr>
          <p:cNvPr id="15" name="Picture 4" descr="http://www.clipartbest.com/cliparts/9i4/ejk/9i4ejkbRT.gif"/>
          <p:cNvPicPr>
            <a:picLocks noChangeAspect="1" noChangeArrowheads="1"/>
          </p:cNvPicPr>
          <p:nvPr/>
        </p:nvPicPr>
        <p:blipFill>
          <a:blip r:embed="rId5" cstate="print">
            <a:clrChange>
              <a:clrFrom>
                <a:srgbClr val="FFFFFF"/>
              </a:clrFrom>
              <a:clrTo>
                <a:srgbClr val="FFFFFF">
                  <a:alpha val="0"/>
                </a:srgbClr>
              </a:clrTo>
            </a:clrChange>
            <a:duotone>
              <a:prstClr val="black"/>
              <a:srgbClr val="DDDDDD">
                <a:tint val="45000"/>
                <a:satMod val="400000"/>
              </a:srgbClr>
            </a:duotone>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188447" y="4223952"/>
            <a:ext cx="2003183" cy="1254402"/>
          </a:xfrm>
          <a:prstGeom prst="rect">
            <a:avLst/>
          </a:prstGeom>
          <a:noFill/>
          <a:extLst>
            <a:ext uri="{909E8E84-426E-40DD-AFC4-6F175D3DCCD1}">
              <a14:hiddenFill xmlns:a14="http://schemas.microsoft.com/office/drawing/2010/main">
                <a:solidFill>
                  <a:srgbClr val="FFFFFF"/>
                </a:solidFill>
              </a14:hiddenFill>
            </a:ext>
          </a:extLst>
        </p:spPr>
      </p:pic>
      <p:sp>
        <p:nvSpPr>
          <p:cNvPr id="22" name="Oval 21"/>
          <p:cNvSpPr/>
          <p:nvPr/>
        </p:nvSpPr>
        <p:spPr bwMode="auto">
          <a:xfrm>
            <a:off x="10725150" y="4579774"/>
            <a:ext cx="247650" cy="24765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Arc 19"/>
          <p:cNvSpPr/>
          <p:nvPr/>
        </p:nvSpPr>
        <p:spPr>
          <a:xfrm rot="593477">
            <a:off x="2473371" y="3054294"/>
            <a:ext cx="8598805" cy="2904024"/>
          </a:xfrm>
          <a:prstGeom prst="arc">
            <a:avLst>
              <a:gd name="adj1" fmla="val 11338657"/>
              <a:gd name="adj2" fmla="val 21200221"/>
            </a:avLst>
          </a:prstGeom>
          <a:ln w="57150">
            <a:solidFill>
              <a:schemeClr val="accent2"/>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 name="TextBox 22"/>
          <p:cNvSpPr txBox="1"/>
          <p:nvPr/>
        </p:nvSpPr>
        <p:spPr>
          <a:xfrm>
            <a:off x="6653049" y="1469492"/>
            <a:ext cx="4851736" cy="960263"/>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a:solidFill>
                  <a:schemeClr val="bg1">
                    <a:lumMod val="50000"/>
                  </a:schemeClr>
                </a:solidFill>
              </a:defRPr>
            </a:lvl1pPr>
          </a:lstStyle>
          <a:p>
            <a:pPr algn="r"/>
            <a:r>
              <a:rPr lang="en-US" sz="2400" dirty="0" err="1">
                <a:solidFill>
                  <a:schemeClr val="tx2"/>
                </a:solidFill>
              </a:rPr>
              <a:t>Maksym</a:t>
            </a:r>
            <a:r>
              <a:rPr lang="en-US" sz="2400" dirty="0">
                <a:solidFill>
                  <a:schemeClr val="tx2"/>
                </a:solidFill>
              </a:rPr>
              <a:t> Igor Popov </a:t>
            </a:r>
            <a:r>
              <a:rPr lang="en-US" sz="2400" dirty="0"/>
              <a:t>started as a </a:t>
            </a:r>
            <a:r>
              <a:rPr lang="en-US" sz="2400" dirty="0">
                <a:solidFill>
                  <a:schemeClr val="tx2"/>
                </a:solidFill>
              </a:rPr>
              <a:t>black hat</a:t>
            </a:r>
            <a:r>
              <a:rPr lang="en-US" sz="2400" dirty="0"/>
              <a:t> in the Ukraine</a:t>
            </a:r>
          </a:p>
        </p:txBody>
      </p:sp>
      <p:sp>
        <p:nvSpPr>
          <p:cNvPr id="24" name="TextBox 23"/>
          <p:cNvSpPr txBox="1"/>
          <p:nvPr/>
        </p:nvSpPr>
        <p:spPr>
          <a:xfrm>
            <a:off x="536703" y="4586669"/>
            <a:ext cx="7649687"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lumMod val="50000"/>
                  </a:schemeClr>
                </a:solidFill>
              </a:rPr>
              <a:t>In 2001, his journey to joining the </a:t>
            </a:r>
            <a:r>
              <a:rPr lang="en-US" sz="2400" dirty="0">
                <a:solidFill>
                  <a:schemeClr val="tx2"/>
                </a:solidFill>
              </a:rPr>
              <a:t>‘good side’</a:t>
            </a:r>
            <a:r>
              <a:rPr lang="en-US" sz="2400" dirty="0">
                <a:solidFill>
                  <a:schemeClr val="bg1">
                    <a:lumMod val="50000"/>
                  </a:schemeClr>
                </a:solidFill>
              </a:rPr>
              <a:t> and become a </a:t>
            </a:r>
            <a:r>
              <a:rPr lang="en-US" sz="2400" dirty="0">
                <a:solidFill>
                  <a:schemeClr val="tx2"/>
                </a:solidFill>
              </a:rPr>
              <a:t>white hat </a:t>
            </a:r>
            <a:r>
              <a:rPr lang="en-US" sz="2400" dirty="0">
                <a:solidFill>
                  <a:schemeClr val="bg1">
                    <a:lumMod val="50000"/>
                  </a:schemeClr>
                </a:solidFill>
              </a:rPr>
              <a:t>led him to the United States</a:t>
            </a:r>
          </a:p>
        </p:txBody>
      </p:sp>
      <p:sp>
        <p:nvSpPr>
          <p:cNvPr id="21" name="Rectangle 20"/>
          <p:cNvSpPr/>
          <p:nvPr/>
        </p:nvSpPr>
        <p:spPr bwMode="auto">
          <a:xfrm>
            <a:off x="593089" y="5774661"/>
            <a:ext cx="10895929" cy="66103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ea typeface="Segoe UI" pitchFamily="34" charset="0"/>
                <a:cs typeface="Segoe UI" pitchFamily="34" charset="0"/>
              </a:rPr>
              <a:t>…but </a:t>
            </a:r>
            <a:r>
              <a:rPr lang="en-US" sz="2400" b="1" dirty="0">
                <a:gradFill>
                  <a:gsLst>
                    <a:gs pos="0">
                      <a:srgbClr val="FFFFFF"/>
                    </a:gs>
                    <a:gs pos="100000">
                      <a:srgbClr val="FFFFFF"/>
                    </a:gs>
                  </a:gsLst>
                  <a:lin ang="5400000" scaled="0"/>
                </a:gradFill>
                <a:ea typeface="Segoe UI" pitchFamily="34" charset="0"/>
                <a:cs typeface="Segoe UI" pitchFamily="34" charset="0"/>
              </a:rPr>
              <a:t>the story didn’t play out the </a:t>
            </a:r>
            <a:r>
              <a:rPr lang="en-US" sz="2400" b="1">
                <a:gradFill>
                  <a:gsLst>
                    <a:gs pos="0">
                      <a:srgbClr val="FFFFFF"/>
                    </a:gs>
                    <a:gs pos="100000">
                      <a:srgbClr val="FFFFFF"/>
                    </a:gs>
                  </a:gsLst>
                  <a:lin ang="5400000" scaled="0"/>
                </a:gradFill>
                <a:ea typeface="Segoe UI" pitchFamily="34" charset="0"/>
                <a:cs typeface="Segoe UI" pitchFamily="34" charset="0"/>
              </a:rPr>
              <a:t>way he expected </a:t>
            </a:r>
            <a:r>
              <a:rPr lang="en-US" sz="2400" b="1" dirty="0">
                <a:gradFill>
                  <a:gsLst>
                    <a:gs pos="0">
                      <a:srgbClr val="FFFFFF"/>
                    </a:gs>
                    <a:gs pos="100000">
                      <a:srgbClr val="FFFFFF"/>
                    </a:gs>
                  </a:gsLst>
                  <a:lin ang="5400000" scaled="0"/>
                </a:gradFill>
                <a:ea typeface="Segoe UI" pitchFamily="34" charset="0"/>
                <a:cs typeface="Segoe UI" pitchFamily="34" charset="0"/>
              </a:rPr>
              <a:t>it to.</a:t>
            </a:r>
          </a:p>
        </p:txBody>
      </p:sp>
    </p:spTree>
    <p:extLst>
      <p:ext uri="{BB962C8B-B14F-4D97-AF65-F5344CB8AC3E}">
        <p14:creationId xmlns:p14="http://schemas.microsoft.com/office/powerpoint/2010/main" val="9936087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2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Content Placeholder 3"/>
          <p:cNvPicPr preferRelativeResize="0">
            <a:picLocks/>
          </p:cNvPicPr>
          <p:nvPr/>
        </p:nvPicPr>
        <p:blipFill rotWithShape="1">
          <a:blip r:embed="rId3">
            <a:extLst>
              <a:ext uri="{28A0092B-C50C-407E-A947-70E740481C1C}">
                <a14:useLocalDpi xmlns:a14="http://schemas.microsoft.com/office/drawing/2010/main" val="0"/>
              </a:ext>
            </a:extLst>
          </a:blip>
          <a:srcRect r="15155"/>
          <a:stretch/>
        </p:blipFill>
        <p:spPr>
          <a:xfrm>
            <a:off x="0" y="0"/>
            <a:ext cx="12192000" cy="8648700"/>
          </a:xfrm>
          <a:prstGeom prst="rect">
            <a:avLst/>
          </a:prstGeom>
          <a:ln>
            <a:solidFill>
              <a:schemeClr val="accent2"/>
            </a:solidFill>
          </a:ln>
          <a:effectLst>
            <a:softEdge rad="25400"/>
          </a:effectLst>
        </p:spPr>
      </p:pic>
      <p:sp>
        <p:nvSpPr>
          <p:cNvPr id="4" name="Rectangle 3"/>
          <p:cNvSpPr/>
          <p:nvPr/>
        </p:nvSpPr>
        <p:spPr bwMode="auto">
          <a:xfrm>
            <a:off x="0" y="1478687"/>
            <a:ext cx="5143500" cy="18478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Let me introduce you to Sarah, </a:t>
            </a:r>
            <a:r>
              <a:rPr lang="en-US" sz="3600">
                <a:gradFill>
                  <a:gsLst>
                    <a:gs pos="0">
                      <a:srgbClr val="FFFFFF"/>
                    </a:gs>
                    <a:gs pos="100000">
                      <a:srgbClr val="FFFFFF"/>
                    </a:gs>
                  </a:gsLst>
                  <a:lin ang="5400000" scaled="0"/>
                </a:gradFill>
                <a:ea typeface="Segoe UI" pitchFamily="34" charset="0"/>
                <a:cs typeface="Segoe UI" pitchFamily="34" charset="0"/>
              </a:rPr>
              <a:t>a </a:t>
            </a:r>
            <a:r>
              <a:rPr lang="en-US" sz="3600" dirty="0">
                <a:gradFill>
                  <a:gsLst>
                    <a:gs pos="0">
                      <a:srgbClr val="FFFFFF"/>
                    </a:gs>
                    <a:gs pos="100000">
                      <a:srgbClr val="FFFFFF"/>
                    </a:gs>
                  </a:gsLst>
                  <a:lin ang="5400000" scaled="0"/>
                </a:gradFill>
                <a:ea typeface="Segoe UI" pitchFamily="34" charset="0"/>
                <a:cs typeface="Segoe UI" pitchFamily="34" charset="0"/>
              </a:rPr>
              <a:t>3</a:t>
            </a:r>
            <a:r>
              <a:rPr lang="en-US" sz="3600" baseline="30000" dirty="0">
                <a:gradFill>
                  <a:gsLst>
                    <a:gs pos="0">
                      <a:srgbClr val="FFFFFF"/>
                    </a:gs>
                    <a:gs pos="100000">
                      <a:srgbClr val="FFFFFF"/>
                    </a:gs>
                  </a:gsLst>
                  <a:lin ang="5400000" scaled="0"/>
                </a:gradFill>
                <a:ea typeface="Segoe UI" pitchFamily="34" charset="0"/>
                <a:cs typeface="Segoe UI" pitchFamily="34" charset="0"/>
              </a:rPr>
              <a:t>rd</a:t>
            </a:r>
            <a:r>
              <a:rPr lang="en-US" sz="3600">
                <a:gradFill>
                  <a:gsLst>
                    <a:gs pos="0">
                      <a:srgbClr val="FFFFFF"/>
                    </a:gs>
                    <a:gs pos="100000">
                      <a:srgbClr val="FFFFFF"/>
                    </a:gs>
                  </a:gsLst>
                  <a:lin ang="5400000" scaled="0"/>
                </a:gradFill>
                <a:ea typeface="Segoe UI" pitchFamily="34" charset="0"/>
                <a:cs typeface="Segoe UI" pitchFamily="34" charset="0"/>
              </a:rPr>
              <a:t> year university student.</a:t>
            </a:r>
            <a:endParaRPr lang="en-US" sz="36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0398172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269240" y="267209"/>
            <a:ext cx="11655840" cy="899665"/>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dirty="0"/>
              <a:t>The Value of a </a:t>
            </a:r>
            <a:r>
              <a:rPr lang="en-US" sz="4800"/>
              <a:t>Hacked Device</a:t>
            </a:r>
            <a:endParaRPr lang="en-US" sz="4800" dirty="0">
              <a:solidFill>
                <a:schemeClr val="tx2"/>
              </a:solidFill>
            </a:endParaRPr>
          </a:p>
        </p:txBody>
      </p:sp>
      <p:sp>
        <p:nvSpPr>
          <p:cNvPr id="6" name="Freeform 5"/>
          <p:cNvSpPr>
            <a:spLocks noChangeAspect="1"/>
          </p:cNvSpPr>
          <p:nvPr/>
        </p:nvSpPr>
        <p:spPr bwMode="black">
          <a:xfrm>
            <a:off x="5279967" y="3214820"/>
            <a:ext cx="1634386" cy="1580369"/>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1069340" y="1490335"/>
            <a:ext cx="4436110" cy="11496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478790" y="2855348"/>
            <a:ext cx="4436110" cy="11496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478790" y="4220361"/>
            <a:ext cx="4436110" cy="11496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1069339" y="5585374"/>
            <a:ext cx="4436110" cy="11496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6555740" y="1490334"/>
            <a:ext cx="4436110" cy="11496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7317740" y="2855347"/>
            <a:ext cx="4436110" cy="11496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7317740" y="4220360"/>
            <a:ext cx="4436110" cy="11496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6555739" y="5585373"/>
            <a:ext cx="4436110" cy="11496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a:off x="1069339" y="1490334"/>
            <a:ext cx="2740661" cy="517065"/>
          </a:xfrm>
          <a:prstGeom prst="rect">
            <a:avLst/>
          </a:prstGeom>
          <a:noFill/>
        </p:spPr>
        <p:txBody>
          <a:bodyPr wrap="square" lIns="91440" tIns="91440"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Web Server</a:t>
            </a:r>
            <a:endParaRPr lang="en-US" dirty="0">
              <a:gradFill>
                <a:gsLst>
                  <a:gs pos="2917">
                    <a:schemeClr val="tx1"/>
                  </a:gs>
                  <a:gs pos="30000">
                    <a:schemeClr val="tx1"/>
                  </a:gs>
                </a:gsLst>
                <a:lin ang="5400000" scaled="0"/>
              </a:gradFill>
            </a:endParaRPr>
          </a:p>
        </p:txBody>
      </p:sp>
      <p:sp>
        <p:nvSpPr>
          <p:cNvPr id="18" name="TextBox 17"/>
          <p:cNvSpPr txBox="1"/>
          <p:nvPr/>
        </p:nvSpPr>
        <p:spPr>
          <a:xfrm>
            <a:off x="478790" y="2859153"/>
            <a:ext cx="2740661" cy="517065"/>
          </a:xfrm>
          <a:prstGeom prst="rect">
            <a:avLst/>
          </a:prstGeom>
          <a:noFill/>
        </p:spPr>
        <p:txBody>
          <a:bodyPr wrap="square" lIns="91440" tIns="91440"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Email Attacks</a:t>
            </a:r>
            <a:endParaRPr lang="en-US" dirty="0">
              <a:gradFill>
                <a:gsLst>
                  <a:gs pos="2917">
                    <a:schemeClr val="tx1"/>
                  </a:gs>
                  <a:gs pos="30000">
                    <a:schemeClr val="tx1"/>
                  </a:gs>
                </a:gsLst>
                <a:lin ang="5400000" scaled="0"/>
              </a:gradFill>
            </a:endParaRPr>
          </a:p>
        </p:txBody>
      </p:sp>
      <p:sp>
        <p:nvSpPr>
          <p:cNvPr id="19" name="TextBox 18"/>
          <p:cNvSpPr txBox="1"/>
          <p:nvPr/>
        </p:nvSpPr>
        <p:spPr>
          <a:xfrm>
            <a:off x="478789" y="4223645"/>
            <a:ext cx="2740661" cy="517065"/>
          </a:xfrm>
          <a:prstGeom prst="rect">
            <a:avLst/>
          </a:prstGeom>
          <a:noFill/>
        </p:spPr>
        <p:txBody>
          <a:bodyPr wrap="square" lIns="91440" tIns="91440"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Virtual Goods</a:t>
            </a:r>
            <a:endParaRPr lang="en-US" dirty="0">
              <a:gradFill>
                <a:gsLst>
                  <a:gs pos="2917">
                    <a:schemeClr val="tx1"/>
                  </a:gs>
                  <a:gs pos="30000">
                    <a:schemeClr val="tx1"/>
                  </a:gs>
                </a:gsLst>
                <a:lin ang="5400000" scaled="0"/>
              </a:gradFill>
            </a:endParaRPr>
          </a:p>
        </p:txBody>
      </p:sp>
      <p:sp>
        <p:nvSpPr>
          <p:cNvPr id="20" name="TextBox 19"/>
          <p:cNvSpPr txBox="1"/>
          <p:nvPr/>
        </p:nvSpPr>
        <p:spPr>
          <a:xfrm>
            <a:off x="1069338" y="5587249"/>
            <a:ext cx="2740661" cy="517065"/>
          </a:xfrm>
          <a:prstGeom prst="rect">
            <a:avLst/>
          </a:prstGeom>
          <a:noFill/>
        </p:spPr>
        <p:txBody>
          <a:bodyPr wrap="square" lIns="91440" tIns="91440"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Reputation Hijacking</a:t>
            </a:r>
            <a:endParaRPr lang="en-US" dirty="0">
              <a:gradFill>
                <a:gsLst>
                  <a:gs pos="2917">
                    <a:schemeClr val="tx1"/>
                  </a:gs>
                  <a:gs pos="30000">
                    <a:schemeClr val="tx1"/>
                  </a:gs>
                </a:gsLst>
                <a:lin ang="5400000" scaled="0"/>
              </a:gradFill>
            </a:endParaRPr>
          </a:p>
        </p:txBody>
      </p:sp>
      <p:sp>
        <p:nvSpPr>
          <p:cNvPr id="21" name="TextBox 20"/>
          <p:cNvSpPr txBox="1"/>
          <p:nvPr/>
        </p:nvSpPr>
        <p:spPr>
          <a:xfrm>
            <a:off x="6555739" y="1490334"/>
            <a:ext cx="2740661" cy="517065"/>
          </a:xfrm>
          <a:prstGeom prst="rect">
            <a:avLst/>
          </a:prstGeom>
          <a:noFill/>
        </p:spPr>
        <p:txBody>
          <a:bodyPr wrap="square" lIns="91440" tIns="91440"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Bot Activity</a:t>
            </a:r>
            <a:endParaRPr lang="en-US" dirty="0">
              <a:gradFill>
                <a:gsLst>
                  <a:gs pos="2917">
                    <a:schemeClr val="tx1"/>
                  </a:gs>
                  <a:gs pos="30000">
                    <a:schemeClr val="tx1"/>
                  </a:gs>
                </a:gsLst>
                <a:lin ang="5400000" scaled="0"/>
              </a:gradFill>
            </a:endParaRPr>
          </a:p>
        </p:txBody>
      </p:sp>
      <p:sp>
        <p:nvSpPr>
          <p:cNvPr id="22" name="TextBox 21"/>
          <p:cNvSpPr txBox="1"/>
          <p:nvPr/>
        </p:nvSpPr>
        <p:spPr>
          <a:xfrm>
            <a:off x="7317739" y="2859153"/>
            <a:ext cx="2740661" cy="517065"/>
          </a:xfrm>
          <a:prstGeom prst="rect">
            <a:avLst/>
          </a:prstGeom>
          <a:noFill/>
        </p:spPr>
        <p:txBody>
          <a:bodyPr wrap="square" lIns="91440" tIns="91440"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Account Credentials</a:t>
            </a:r>
            <a:endParaRPr lang="en-US" dirty="0">
              <a:gradFill>
                <a:gsLst>
                  <a:gs pos="2917">
                    <a:schemeClr val="tx1"/>
                  </a:gs>
                  <a:gs pos="30000">
                    <a:schemeClr val="tx1"/>
                  </a:gs>
                </a:gsLst>
                <a:lin ang="5400000" scaled="0"/>
              </a:gradFill>
            </a:endParaRPr>
          </a:p>
        </p:txBody>
      </p:sp>
      <p:sp>
        <p:nvSpPr>
          <p:cNvPr id="23" name="TextBox 22"/>
          <p:cNvSpPr txBox="1"/>
          <p:nvPr/>
        </p:nvSpPr>
        <p:spPr>
          <a:xfrm>
            <a:off x="7317740" y="4223645"/>
            <a:ext cx="2740661" cy="517065"/>
          </a:xfrm>
          <a:prstGeom prst="rect">
            <a:avLst/>
          </a:prstGeom>
          <a:noFill/>
        </p:spPr>
        <p:txBody>
          <a:bodyPr wrap="square" lIns="91440" tIns="91440"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Financial Credentials</a:t>
            </a:r>
            <a:endParaRPr lang="en-US" dirty="0">
              <a:gradFill>
                <a:gsLst>
                  <a:gs pos="2917">
                    <a:schemeClr val="tx1"/>
                  </a:gs>
                  <a:gs pos="30000">
                    <a:schemeClr val="tx1"/>
                  </a:gs>
                </a:gsLst>
                <a:lin ang="5400000" scaled="0"/>
              </a:gradFill>
            </a:endParaRPr>
          </a:p>
        </p:txBody>
      </p:sp>
      <p:sp>
        <p:nvSpPr>
          <p:cNvPr id="24" name="TextBox 23"/>
          <p:cNvSpPr txBox="1"/>
          <p:nvPr/>
        </p:nvSpPr>
        <p:spPr>
          <a:xfrm>
            <a:off x="6555739" y="5587249"/>
            <a:ext cx="2740661" cy="517065"/>
          </a:xfrm>
          <a:prstGeom prst="rect">
            <a:avLst/>
          </a:prstGeom>
          <a:noFill/>
        </p:spPr>
        <p:txBody>
          <a:bodyPr wrap="square" lIns="91440" tIns="91440"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Hostage Accounts</a:t>
            </a:r>
            <a:endParaRPr lang="en-US" dirty="0">
              <a:gradFill>
                <a:gsLst>
                  <a:gs pos="2917">
                    <a:schemeClr val="tx1"/>
                  </a:gs>
                  <a:gs pos="30000">
                    <a:schemeClr val="tx1"/>
                  </a:gs>
                </a:gsLst>
                <a:lin ang="5400000" scaled="0"/>
              </a:gradFill>
            </a:endParaRPr>
          </a:p>
        </p:txBody>
      </p:sp>
      <p:sp>
        <p:nvSpPr>
          <p:cNvPr id="26" name="Rectangle 3"/>
          <p:cNvSpPr/>
          <p:nvPr/>
        </p:nvSpPr>
        <p:spPr bwMode="auto">
          <a:xfrm>
            <a:off x="1069338" y="1735016"/>
            <a:ext cx="4436111" cy="6058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2" spcCol="0" rtlCol="0" fromWordArt="0" anchor="t" anchorCtr="0" forceAA="0" compatLnSpc="1">
            <a:prstTxWarp prst="textNoShape">
              <a:avLst/>
            </a:prstTxWarp>
            <a:noAutofit/>
          </a:bodyPr>
          <a:lstStyle/>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Phishing</a:t>
            </a:r>
          </a:p>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Malware</a:t>
            </a: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Warez</a:t>
            </a:r>
          </a:p>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Spam Site</a:t>
            </a: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p:txBody>
      </p:sp>
      <p:sp>
        <p:nvSpPr>
          <p:cNvPr id="27" name="Rectangle 6"/>
          <p:cNvSpPr/>
          <p:nvPr/>
        </p:nvSpPr>
        <p:spPr bwMode="auto">
          <a:xfrm>
            <a:off x="478789" y="3149463"/>
            <a:ext cx="4661594" cy="6058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2" spcCol="0" rtlCol="0" fromWordArt="0" anchor="t" anchorCtr="0" forceAA="0" compatLnSpc="1">
            <a:prstTxWarp prst="textNoShape">
              <a:avLst/>
            </a:prstTxWarp>
            <a:noAutofit/>
          </a:bodyPr>
          <a:lstStyle/>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Webmail Spam</a:t>
            </a:r>
          </a:p>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Harvest email contacts</a:t>
            </a: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Corporate email</a:t>
            </a:r>
          </a:p>
          <a:p>
            <a:pPr defTabSz="932472" fontAlgn="base">
              <a:lnSpc>
                <a:spcPct val="90000"/>
              </a:lnSpc>
              <a:spcBef>
                <a:spcPct val="0"/>
              </a:spcBef>
              <a:spcAft>
                <a:spcPct val="0"/>
              </a:spcAft>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p:txBody>
      </p:sp>
      <p:cxnSp>
        <p:nvCxnSpPr>
          <p:cNvPr id="29" name="Straight Connector 28"/>
          <p:cNvCxnSpPr>
            <a:stCxn id="2" idx="3"/>
          </p:cNvCxnSpPr>
          <p:nvPr/>
        </p:nvCxnSpPr>
        <p:spPr>
          <a:xfrm>
            <a:off x="5505450" y="2065164"/>
            <a:ext cx="361950" cy="1149656"/>
          </a:xfrm>
          <a:prstGeom prst="line">
            <a:avLst/>
          </a:prstGeom>
          <a:ln w="28575">
            <a:solidFill>
              <a:schemeClr val="tx1">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4914900" y="3435996"/>
            <a:ext cx="403387" cy="139585"/>
          </a:xfrm>
          <a:prstGeom prst="line">
            <a:avLst/>
          </a:prstGeom>
          <a:ln w="28575">
            <a:solidFill>
              <a:schemeClr val="tx1">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12" idx="3"/>
            <a:endCxn id="6" idx="36"/>
          </p:cNvCxnSpPr>
          <p:nvPr/>
        </p:nvCxnSpPr>
        <p:spPr>
          <a:xfrm flipV="1">
            <a:off x="4914900" y="4211200"/>
            <a:ext cx="483709" cy="583990"/>
          </a:xfrm>
          <a:prstGeom prst="line">
            <a:avLst/>
          </a:prstGeom>
          <a:ln w="28575">
            <a:solidFill>
              <a:schemeClr val="tx1">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a:stCxn id="13" idx="3"/>
          </p:cNvCxnSpPr>
          <p:nvPr/>
        </p:nvCxnSpPr>
        <p:spPr>
          <a:xfrm flipV="1">
            <a:off x="5505449" y="4795189"/>
            <a:ext cx="361951" cy="1365014"/>
          </a:xfrm>
          <a:prstGeom prst="line">
            <a:avLst/>
          </a:prstGeom>
          <a:ln w="28575">
            <a:solidFill>
              <a:schemeClr val="tx1">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4" idx="1"/>
          </p:cNvCxnSpPr>
          <p:nvPr/>
        </p:nvCxnSpPr>
        <p:spPr>
          <a:xfrm flipH="1">
            <a:off x="6212842" y="2065163"/>
            <a:ext cx="342898" cy="1130607"/>
          </a:xfrm>
          <a:prstGeom prst="line">
            <a:avLst/>
          </a:prstGeom>
          <a:ln w="28575">
            <a:solidFill>
              <a:schemeClr val="tx1">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6849810" y="3416946"/>
            <a:ext cx="467928" cy="139585"/>
          </a:xfrm>
          <a:prstGeom prst="line">
            <a:avLst/>
          </a:prstGeom>
          <a:ln w="28575">
            <a:solidFill>
              <a:schemeClr val="tx1">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flipV="1">
            <a:off x="6756637" y="4192150"/>
            <a:ext cx="561101" cy="583990"/>
          </a:xfrm>
          <a:prstGeom prst="line">
            <a:avLst/>
          </a:prstGeom>
          <a:ln w="28575">
            <a:solidFill>
              <a:schemeClr val="tx1">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17" idx="1"/>
          </p:cNvCxnSpPr>
          <p:nvPr/>
        </p:nvCxnSpPr>
        <p:spPr>
          <a:xfrm flipH="1" flipV="1">
            <a:off x="6212841" y="4776140"/>
            <a:ext cx="342898" cy="1384062"/>
          </a:xfrm>
          <a:prstGeom prst="line">
            <a:avLst/>
          </a:prstGeom>
          <a:ln w="28575">
            <a:solidFill>
              <a:schemeClr val="tx1">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Rectangle 6"/>
          <p:cNvSpPr/>
          <p:nvPr/>
        </p:nvSpPr>
        <p:spPr bwMode="auto">
          <a:xfrm>
            <a:off x="517924" y="4545461"/>
            <a:ext cx="4661594" cy="6058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2" spcCol="0" rtlCol="0" fromWordArt="0" anchor="t" anchorCtr="0" forceAA="0" compatLnSpc="1">
            <a:prstTxWarp prst="textNoShape">
              <a:avLst/>
            </a:prstTxWarp>
            <a:noAutofit/>
          </a:bodyPr>
          <a:lstStyle/>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Online gaming characters</a:t>
            </a: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Operating system license key</a:t>
            </a:r>
          </a:p>
          <a:p>
            <a:pPr defTabSz="932472" fontAlgn="base">
              <a:lnSpc>
                <a:spcPct val="90000"/>
              </a:lnSpc>
              <a:spcBef>
                <a:spcPct val="0"/>
              </a:spcBef>
              <a:spcAft>
                <a:spcPct val="0"/>
              </a:spcAft>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p:txBody>
      </p:sp>
      <p:sp>
        <p:nvSpPr>
          <p:cNvPr id="33" name="Rectangle 6"/>
          <p:cNvSpPr/>
          <p:nvPr/>
        </p:nvSpPr>
        <p:spPr bwMode="auto">
          <a:xfrm>
            <a:off x="1026102" y="5932519"/>
            <a:ext cx="4661594" cy="6058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2" spcCol="0" rtlCol="0" fromWordArt="0" anchor="t" anchorCtr="0" forceAA="0" compatLnSpc="1">
            <a:prstTxWarp prst="textNoShape">
              <a:avLst/>
            </a:prstTxWarp>
            <a:noAutofit/>
          </a:bodyPr>
          <a:lstStyle/>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Facebook</a:t>
            </a:r>
          </a:p>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Google +</a:t>
            </a: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LinkedIn</a:t>
            </a:r>
          </a:p>
          <a:p>
            <a:pPr defTabSz="932472" fontAlgn="base">
              <a:lnSpc>
                <a:spcPct val="90000"/>
              </a:lnSpc>
              <a:spcBef>
                <a:spcPct val="0"/>
              </a:spcBef>
              <a:spcAft>
                <a:spcPct val="0"/>
              </a:spcAft>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p:txBody>
      </p:sp>
      <p:sp>
        <p:nvSpPr>
          <p:cNvPr id="34" name="Rectangle 6"/>
          <p:cNvSpPr/>
          <p:nvPr/>
        </p:nvSpPr>
        <p:spPr bwMode="auto">
          <a:xfrm>
            <a:off x="6578799" y="1807316"/>
            <a:ext cx="4661594" cy="6058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2" spcCol="0" rtlCol="0" fromWordArt="0" anchor="t" anchorCtr="0" forceAA="0" compatLnSpc="1">
            <a:prstTxWarp prst="textNoShape">
              <a:avLst/>
            </a:prstTxWarp>
            <a:noAutofit/>
          </a:bodyPr>
          <a:lstStyle/>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Anonymization Proxy</a:t>
            </a:r>
          </a:p>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Click fraud zombie</a:t>
            </a: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DDoS Extortion zombie</a:t>
            </a:r>
          </a:p>
          <a:p>
            <a:pPr defTabSz="932472" fontAlgn="base">
              <a:lnSpc>
                <a:spcPct val="90000"/>
              </a:lnSpc>
              <a:spcBef>
                <a:spcPct val="0"/>
              </a:spcBef>
              <a:spcAft>
                <a:spcPct val="0"/>
              </a:spcAft>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p:txBody>
      </p:sp>
      <p:sp>
        <p:nvSpPr>
          <p:cNvPr id="36" name="Rectangle 6"/>
          <p:cNvSpPr/>
          <p:nvPr/>
        </p:nvSpPr>
        <p:spPr bwMode="auto">
          <a:xfrm>
            <a:off x="7437243" y="3119964"/>
            <a:ext cx="4661594" cy="6058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2" spcCol="0" rtlCol="0" fromWordArt="0" anchor="t" anchorCtr="0" forceAA="0" compatLnSpc="1">
            <a:prstTxWarp prst="textNoShape">
              <a:avLst/>
            </a:prstTxWarp>
            <a:noAutofit/>
          </a:bodyPr>
          <a:lstStyle/>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Skype credentials</a:t>
            </a:r>
          </a:p>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Website FTP credentials</a:t>
            </a: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eBay auctions</a:t>
            </a:r>
          </a:p>
          <a:p>
            <a:pPr defTabSz="932472" fontAlgn="base">
              <a:lnSpc>
                <a:spcPct val="90000"/>
              </a:lnSpc>
              <a:spcBef>
                <a:spcPct val="0"/>
              </a:spcBef>
              <a:spcAft>
                <a:spcPct val="0"/>
              </a:spcAft>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p:txBody>
      </p:sp>
      <p:sp>
        <p:nvSpPr>
          <p:cNvPr id="37" name="Rectangle 6"/>
          <p:cNvSpPr/>
          <p:nvPr/>
        </p:nvSpPr>
        <p:spPr bwMode="auto">
          <a:xfrm>
            <a:off x="7437243" y="4482177"/>
            <a:ext cx="4661594" cy="6058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2" spcCol="0" rtlCol="0" fromWordArt="0" anchor="t" anchorCtr="0" forceAA="0" compatLnSpc="1">
            <a:prstTxWarp prst="textNoShape">
              <a:avLst/>
            </a:prstTxWarp>
            <a:noAutofit/>
          </a:bodyPr>
          <a:lstStyle/>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Bank account</a:t>
            </a:r>
          </a:p>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Stock trading</a:t>
            </a: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401K/investments</a:t>
            </a:r>
          </a:p>
          <a:p>
            <a:pPr defTabSz="932472" fontAlgn="base">
              <a:lnSpc>
                <a:spcPct val="90000"/>
              </a:lnSpc>
              <a:spcBef>
                <a:spcPct val="0"/>
              </a:spcBef>
              <a:spcAft>
                <a:spcPct val="0"/>
              </a:spcAft>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p:txBody>
      </p:sp>
      <p:sp>
        <p:nvSpPr>
          <p:cNvPr id="38" name="Rectangle 6"/>
          <p:cNvSpPr/>
          <p:nvPr/>
        </p:nvSpPr>
        <p:spPr bwMode="auto">
          <a:xfrm>
            <a:off x="6740738" y="5879529"/>
            <a:ext cx="4661594" cy="6058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2" spcCol="0" rtlCol="0" fromWordArt="0" anchor="t" anchorCtr="0" forceAA="0" compatLnSpc="1">
            <a:prstTxWarp prst="textNoShape">
              <a:avLst/>
            </a:prstTxWarp>
            <a:noAutofit/>
          </a:bodyPr>
          <a:lstStyle/>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Ransomware</a:t>
            </a:r>
          </a:p>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Webcam image extortion</a:t>
            </a: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Fake antivirus</a:t>
            </a:r>
          </a:p>
          <a:p>
            <a:pPr defTabSz="932472" fontAlgn="base">
              <a:lnSpc>
                <a:spcPct val="90000"/>
              </a:lnSpc>
              <a:spcBef>
                <a:spcPct val="0"/>
              </a:spcBef>
              <a:spcAft>
                <a:spcPct val="0"/>
              </a:spcAft>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p:txBody>
      </p:sp>
      <p:sp>
        <p:nvSpPr>
          <p:cNvPr id="43" name="Rectangle 42"/>
          <p:cNvSpPr/>
          <p:nvPr/>
        </p:nvSpPr>
        <p:spPr bwMode="auto">
          <a:xfrm>
            <a:off x="269239" y="802991"/>
            <a:ext cx="12000733" cy="600164"/>
          </a:xfrm>
          <a:prstGeom prst="rect">
            <a:avLst/>
          </a:prstGeom>
          <a:noFill/>
        </p:spPr>
        <p:txBody>
          <a:bodyPr wrap="square" lIns="182880" tIns="146304" rIns="182880" bIns="146304" rtlCol="0">
            <a:spAutoFit/>
          </a:bodyPr>
          <a:lstStyle/>
          <a:p>
            <a:pPr>
              <a:lnSpc>
                <a:spcPct val="90000"/>
              </a:lnSpc>
              <a:spcAft>
                <a:spcPts val="600"/>
              </a:spcAft>
            </a:pPr>
            <a:r>
              <a:rPr lang="en-US" sz="2200" dirty="0">
                <a:gradFill>
                  <a:gsLst>
                    <a:gs pos="2917">
                      <a:schemeClr val="tx1"/>
                    </a:gs>
                    <a:gs pos="30000">
                      <a:schemeClr val="tx1"/>
                    </a:gs>
                  </a:gsLst>
                  <a:lin ang="5400000" scaled="0"/>
                </a:gradFill>
                <a:latin typeface="+mj-lt"/>
              </a:rPr>
              <a:t>Once a network is penetrated, hackers find value across many areas, incl. financial and nonfinancial</a:t>
            </a:r>
            <a:endParaRPr lang="en-US" sz="20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61229371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VID_White_Blue_Accent_16x9_2013_06">
  <a:themeElements>
    <a:clrScheme name="MS Brand - White with blue accents">
      <a:dk1>
        <a:srgbClr val="505050"/>
      </a:dk1>
      <a:lt1>
        <a:srgbClr val="FFFFFF"/>
      </a:lt1>
      <a:dk2>
        <a:srgbClr val="0072C6"/>
      </a:dk2>
      <a:lt2>
        <a:srgbClr val="00BCF2"/>
      </a:lt2>
      <a:accent1>
        <a:srgbClr val="002050"/>
      </a:accent1>
      <a:accent2>
        <a:srgbClr val="B4009E"/>
      </a:accent2>
      <a:accent3>
        <a:srgbClr val="0072C6"/>
      </a:accent3>
      <a:accent4>
        <a:srgbClr val="008272"/>
      </a:accent4>
      <a:accent5>
        <a:srgbClr val="4668C5"/>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rand_template_16-9_WHITE_Blue_accent_2013" id="{A8ECE3F3-AD13-4342-9E2D-AFBE266C6F22}" vid="{BEFFCFA6-0CD2-4880-A11C-FE23A9E8E107}"/>
    </a:ext>
  </a:extLst>
</a:theme>
</file>

<file path=ppt/theme/theme10.xml><?xml version="1.0" encoding="utf-8"?>
<a:theme xmlns:a="http://schemas.openxmlformats.org/drawingml/2006/main" name="2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4F09737C-ADEF-4314-AB56-4A518DF7B933}" vid="{87A94877-8473-4FD7-A13A-DB9D3F7775DC}"/>
    </a:ext>
  </a:extLst>
</a:theme>
</file>

<file path=ppt/theme/theme11.xml><?xml version="1.0" encoding="utf-8"?>
<a:theme xmlns:a="http://schemas.openxmlformats.org/drawingml/2006/main" name="3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4F09737C-ADEF-4314-AB56-4A518DF7B933}" vid="{87A94877-8473-4FD7-A13A-DB9D3F7775DC}"/>
    </a:ext>
  </a:extLst>
</a:theme>
</file>

<file path=ppt/theme/theme12.xml><?xml version="1.0" encoding="utf-8"?>
<a:theme xmlns:a="http://schemas.openxmlformats.org/drawingml/2006/main" name="3_MSVID_White_Blue_Accent_16x9_2013_06">
  <a:themeElements>
    <a:clrScheme name="MS Brand - White with blue accents">
      <a:dk1>
        <a:srgbClr val="505050"/>
      </a:dk1>
      <a:lt1>
        <a:srgbClr val="FFFFFF"/>
      </a:lt1>
      <a:dk2>
        <a:srgbClr val="0072C6"/>
      </a:dk2>
      <a:lt2>
        <a:srgbClr val="00BCF2"/>
      </a:lt2>
      <a:accent1>
        <a:srgbClr val="002050"/>
      </a:accent1>
      <a:accent2>
        <a:srgbClr val="B4009E"/>
      </a:accent2>
      <a:accent3>
        <a:srgbClr val="0072C6"/>
      </a:accent3>
      <a:accent4>
        <a:srgbClr val="008272"/>
      </a:accent4>
      <a:accent5>
        <a:srgbClr val="4668C5"/>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rand_template_16-9_WHITE_Blue_accent_2013" id="{A8ECE3F3-AD13-4342-9E2D-AFBE266C6F22}" vid="{BEFFCFA6-0CD2-4880-A11C-FE23A9E8E107}"/>
    </a:ext>
  </a:extLst>
</a:theme>
</file>

<file path=ppt/theme/theme13.xml><?xml version="1.0" encoding="utf-8"?>
<a:theme xmlns:a="http://schemas.openxmlformats.org/drawingml/2006/main" name="4_MSVID_White_Blue_Accent_16x9_2013_06">
  <a:themeElements>
    <a:clrScheme name="MS Brand - White with blue accents">
      <a:dk1>
        <a:srgbClr val="505050"/>
      </a:dk1>
      <a:lt1>
        <a:srgbClr val="FFFFFF"/>
      </a:lt1>
      <a:dk2>
        <a:srgbClr val="0072C6"/>
      </a:dk2>
      <a:lt2>
        <a:srgbClr val="00BCF2"/>
      </a:lt2>
      <a:accent1>
        <a:srgbClr val="002050"/>
      </a:accent1>
      <a:accent2>
        <a:srgbClr val="B4009E"/>
      </a:accent2>
      <a:accent3>
        <a:srgbClr val="0072C6"/>
      </a:accent3>
      <a:accent4>
        <a:srgbClr val="008272"/>
      </a:accent4>
      <a:accent5>
        <a:srgbClr val="4668C5"/>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rand_template_16-9_WHITE_Blue_accent_2013" id="{A8ECE3F3-AD13-4342-9E2D-AFBE266C6F22}" vid="{BEFFCFA6-0CD2-4880-A11C-FE23A9E8E107}"/>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MSVID_White_Blue_Accent_16x9_2013_06">
  <a:themeElements>
    <a:clrScheme name="MS Brand - White with blue accents">
      <a:dk1>
        <a:srgbClr val="505050"/>
      </a:dk1>
      <a:lt1>
        <a:srgbClr val="FFFFFF"/>
      </a:lt1>
      <a:dk2>
        <a:srgbClr val="0072C6"/>
      </a:dk2>
      <a:lt2>
        <a:srgbClr val="00BCF2"/>
      </a:lt2>
      <a:accent1>
        <a:srgbClr val="002050"/>
      </a:accent1>
      <a:accent2>
        <a:srgbClr val="B4009E"/>
      </a:accent2>
      <a:accent3>
        <a:srgbClr val="0072C6"/>
      </a:accent3>
      <a:accent4>
        <a:srgbClr val="008272"/>
      </a:accent4>
      <a:accent5>
        <a:srgbClr val="4668C5"/>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rand_template_16-9_WHITE_Blue_accent_2013" id="{A8ECE3F3-AD13-4342-9E2D-AFBE266C6F22}" vid="{BEFFCFA6-0CD2-4880-A11C-FE23A9E8E107}"/>
    </a:ext>
  </a:extLst>
</a:theme>
</file>

<file path=ppt/theme/theme3.xml><?xml version="1.0" encoding="utf-8"?>
<a:theme xmlns:a="http://schemas.openxmlformats.org/drawingml/2006/main" name="FY14 MIE Presentation Template_External_16x9">
  <a:themeElements>
    <a:clrScheme name="Custom 2">
      <a:dk1>
        <a:srgbClr val="505050"/>
      </a:dk1>
      <a:lt1>
        <a:sysClr val="window" lastClr="FFFFFF"/>
      </a:lt1>
      <a:dk2>
        <a:srgbClr val="002050"/>
      </a:dk2>
      <a:lt2>
        <a:srgbClr val="002050"/>
      </a:lt2>
      <a:accent1>
        <a:srgbClr val="6DC2E9"/>
      </a:accent1>
      <a:accent2>
        <a:srgbClr val="0072C6"/>
      </a:accent2>
      <a:accent3>
        <a:srgbClr val="00188F"/>
      </a:accent3>
      <a:accent4>
        <a:srgbClr val="00BCF2"/>
      </a:accent4>
      <a:accent5>
        <a:srgbClr val="008272"/>
      </a:accent5>
      <a:accent6>
        <a:srgbClr val="B4009E"/>
      </a:accent6>
      <a:hlink>
        <a:srgbClr val="008272"/>
      </a:hlink>
      <a:folHlink>
        <a:srgbClr val="006155"/>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defRPr sz="1800" dirty="0" smtClean="0">
            <a:latin typeface="Segoe UI" panose="020B0502040204020203" pitchFamily="34" charset="0"/>
            <a:cs typeface="Segoe UI" panose="020B05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0" rIns="0" bIns="0" rtlCol="0" anchor="t">
        <a:noAutofit/>
      </a:bodyPr>
      <a:lstStyle>
        <a:defPPr marL="171450" indent="-171450">
          <a:buClr>
            <a:schemeClr val="accent4"/>
          </a:buClr>
          <a:buFont typeface="Wingdings" pitchFamily="2" charset="2"/>
          <a:buChar char="§"/>
          <a:defRPr sz="1600" dirty="0" smtClean="0">
            <a:solidFill>
              <a:schemeClr val="bg1"/>
            </a:solidFill>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Presentation1" id="{9DA321C1-E3F7-4A0A-B047-7DEBBE4616E1}" vid="{670B08E6-C729-4560-8C57-A173FDEC3E88}"/>
    </a:ext>
  </a:extLst>
</a:theme>
</file>

<file path=ppt/theme/theme4.xml><?xml version="1.0" encoding="utf-8"?>
<a:theme xmlns:a="http://schemas.openxmlformats.org/drawingml/2006/main" name="1_FY14 MIE Presentation Template_External_16x9">
  <a:themeElements>
    <a:clrScheme name="Custom 2">
      <a:dk1>
        <a:srgbClr val="505050"/>
      </a:dk1>
      <a:lt1>
        <a:sysClr val="window" lastClr="FFFFFF"/>
      </a:lt1>
      <a:dk2>
        <a:srgbClr val="002050"/>
      </a:dk2>
      <a:lt2>
        <a:srgbClr val="002050"/>
      </a:lt2>
      <a:accent1>
        <a:srgbClr val="6DC2E9"/>
      </a:accent1>
      <a:accent2>
        <a:srgbClr val="0072C6"/>
      </a:accent2>
      <a:accent3>
        <a:srgbClr val="00188F"/>
      </a:accent3>
      <a:accent4>
        <a:srgbClr val="00BCF2"/>
      </a:accent4>
      <a:accent5>
        <a:srgbClr val="008272"/>
      </a:accent5>
      <a:accent6>
        <a:srgbClr val="B4009E"/>
      </a:accent6>
      <a:hlink>
        <a:srgbClr val="008272"/>
      </a:hlink>
      <a:folHlink>
        <a:srgbClr val="006155"/>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defRPr sz="1800" dirty="0" smtClean="0">
            <a:latin typeface="Segoe UI" panose="020B0502040204020203" pitchFamily="34" charset="0"/>
            <a:cs typeface="Segoe UI" panose="020B05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0" rIns="0" bIns="0" rtlCol="0" anchor="t">
        <a:noAutofit/>
      </a:bodyPr>
      <a:lstStyle>
        <a:defPPr marL="171450" indent="-171450">
          <a:buClr>
            <a:schemeClr val="accent4"/>
          </a:buClr>
          <a:buFont typeface="Wingdings" pitchFamily="2" charset="2"/>
          <a:buChar char="§"/>
          <a:defRPr sz="1600" dirty="0" smtClean="0">
            <a:solidFill>
              <a:schemeClr val="bg1"/>
            </a:solidFill>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Presentation1" id="{9DA321C1-E3F7-4A0A-B047-7DEBBE4616E1}" vid="{670B08E6-C729-4560-8C57-A173FDEC3E88}"/>
    </a:ext>
  </a:extLst>
</a:theme>
</file>

<file path=ppt/theme/theme5.xml><?xml version="1.0" encoding="utf-8"?>
<a:theme xmlns:a="http://schemas.openxmlformats.org/drawingml/2006/main" name="TrustedCloud_White_Blue_Accent_16x9">
  <a:themeElements>
    <a:clrScheme name="Custom 38">
      <a:dk1>
        <a:srgbClr val="505050"/>
      </a:dk1>
      <a:lt1>
        <a:srgbClr val="FFFFFF"/>
      </a:lt1>
      <a:dk2>
        <a:srgbClr val="0072C6"/>
      </a:dk2>
      <a:lt2>
        <a:srgbClr val="00BCF2"/>
      </a:lt2>
      <a:accent1>
        <a:srgbClr val="002050"/>
      </a:accent1>
      <a:accent2>
        <a:srgbClr val="B4009E"/>
      </a:accent2>
      <a:accent3>
        <a:srgbClr val="0072C6"/>
      </a:accent3>
      <a:accent4>
        <a:srgbClr val="549901"/>
      </a:accent4>
      <a:accent5>
        <a:srgbClr val="7FBA00"/>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lumMod val="75000"/>
          </a:schemeClr>
        </a:solidFill>
      </a:spPr>
      <a:bodyPr wrap="square" rtlCol="0" anchor="ctr">
        <a:noAutofit/>
      </a:bodyPr>
      <a:lstStyle>
        <a:defPPr algn="l">
          <a:defRPr sz="2000" dirty="0">
            <a:solidFill>
              <a:srgbClr val="FFFFFF"/>
            </a:solidFill>
            <a:cs typeface="Segoe UI Light"/>
          </a:defRPr>
        </a:defPPr>
      </a:lst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2800" dirty="0" smtClean="0"/>
        </a:defPPr>
      </a:lstStyle>
    </a:txDef>
  </a:objectDefaults>
  <a:extraClrSchemeLst/>
  <a:extLst>
    <a:ext uri="{05A4C25C-085E-4340-85A3-A5531E510DB2}">
      <thm15:themeFamily xmlns:thm15="http://schemas.microsoft.com/office/thememl/2012/main" name="Microsoft_Brand_template_16-9_WHITE_Blue_accent_2013" id="{A8ECE3F3-AD13-4342-9E2D-AFBE266C6F22}" vid="{BEFFCFA6-0CD2-4880-A11C-FE23A9E8E107}"/>
    </a:ext>
  </a:extLst>
</a:theme>
</file>

<file path=ppt/theme/theme6.xml><?xml version="1.0" encoding="utf-8"?>
<a:theme xmlns:a="http://schemas.openxmlformats.org/drawingml/2006/main" name="1_TrustedCloud_White_Blue_Accent_16x9">
  <a:themeElements>
    <a:clrScheme name="Custom 38">
      <a:dk1>
        <a:srgbClr val="505050"/>
      </a:dk1>
      <a:lt1>
        <a:srgbClr val="FFFFFF"/>
      </a:lt1>
      <a:dk2>
        <a:srgbClr val="0072C6"/>
      </a:dk2>
      <a:lt2>
        <a:srgbClr val="00BCF2"/>
      </a:lt2>
      <a:accent1>
        <a:srgbClr val="002050"/>
      </a:accent1>
      <a:accent2>
        <a:srgbClr val="B4009E"/>
      </a:accent2>
      <a:accent3>
        <a:srgbClr val="0072C6"/>
      </a:accent3>
      <a:accent4>
        <a:srgbClr val="549901"/>
      </a:accent4>
      <a:accent5>
        <a:srgbClr val="7FBA00"/>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lumMod val="75000"/>
          </a:schemeClr>
        </a:solidFill>
      </a:spPr>
      <a:bodyPr wrap="square" rtlCol="0" anchor="ctr">
        <a:noAutofit/>
      </a:bodyPr>
      <a:lstStyle>
        <a:defPPr algn="l">
          <a:defRPr sz="2000" dirty="0">
            <a:solidFill>
              <a:srgbClr val="FFFFFF"/>
            </a:solidFill>
            <a:cs typeface="Segoe UI Light"/>
          </a:defRPr>
        </a:defPPr>
      </a:lst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2800" dirty="0" smtClean="0"/>
        </a:defPPr>
      </a:lstStyle>
    </a:txDef>
  </a:objectDefaults>
  <a:extraClrSchemeLst/>
  <a:extLst>
    <a:ext uri="{05A4C25C-085E-4340-85A3-A5531E510DB2}">
      <thm15:themeFamily xmlns:thm15="http://schemas.microsoft.com/office/thememl/2012/main" name="Microsoft_Brand_template_16-9_WHITE_Blue_accent_2013" id="{A8ECE3F3-AD13-4342-9E2D-AFBE266C6F22}" vid="{BEFFCFA6-0CD2-4880-A11C-FE23A9E8E107}"/>
    </a:ext>
  </a:extLst>
</a:theme>
</file>

<file path=ppt/theme/theme7.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4F09737C-ADEF-4314-AB56-4A518DF7B933}" vid="{87A94877-8473-4FD7-A13A-DB9D3F7775DC}"/>
    </a:ext>
  </a:extLst>
</a:theme>
</file>

<file path=ppt/theme/theme8.xml><?xml version="1.0" encoding="utf-8"?>
<a:theme xmlns:a="http://schemas.openxmlformats.org/drawingml/2006/main" name="1_MSVID_White_Blue_Accent_16x9_2013_06">
  <a:themeElements>
    <a:clrScheme name="MS Brand - White with blue accents">
      <a:dk1>
        <a:srgbClr val="505050"/>
      </a:dk1>
      <a:lt1>
        <a:srgbClr val="FFFFFF"/>
      </a:lt1>
      <a:dk2>
        <a:srgbClr val="0072C6"/>
      </a:dk2>
      <a:lt2>
        <a:srgbClr val="00BCF2"/>
      </a:lt2>
      <a:accent1>
        <a:srgbClr val="002050"/>
      </a:accent1>
      <a:accent2>
        <a:srgbClr val="B4009E"/>
      </a:accent2>
      <a:accent3>
        <a:srgbClr val="0072C6"/>
      </a:accent3>
      <a:accent4>
        <a:srgbClr val="008272"/>
      </a:accent4>
      <a:accent5>
        <a:srgbClr val="4668C5"/>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rand_template_16-9_WHITE_Blue_accent_2013" id="{A8ECE3F3-AD13-4342-9E2D-AFBE266C6F22}" vid="{BEFFCFA6-0CD2-4880-A11C-FE23A9E8E107}"/>
    </a:ext>
  </a:extLst>
</a:theme>
</file>

<file path=ppt/theme/theme9.xml><?xml version="1.0" encoding="utf-8"?>
<a:theme xmlns:a="http://schemas.openxmlformats.org/drawingml/2006/main" name="1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4F09737C-ADEF-4314-AB56-4A518DF7B933}" vid="{87A94877-8473-4FD7-A13A-DB9D3F7775D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pc="http://schemas.microsoft.com/office/infopath/2007/PartnerControls" xmlns:xsi="http://www.w3.org/2001/XMLSchema-instance">
  <documentManagement>
    <DocumentDescription xmlns="77e7649f-490d-4128-a15a-ad45f7759f3a" xsi:nil="true"/>
    <_dlc_DocId xmlns="77e7649f-490d-4128-a15a-ad45f7759f3a">KEYNCH3HC7X7-65-38537</_dlc_DocId>
    <TaxKeywordTaxHTField xmlns="77e7649f-490d-4128-a15a-ad45f7759f3a">
      <Terms xmlns="http://schemas.microsoft.com/office/infopath/2007/PartnerControls"/>
    </TaxKeywordTaxHTField>
    <TaxCatchAll xmlns="77e7649f-490d-4128-a15a-ad45f7759f3a">
      <Value>14</Value>
      <Value>15</Value>
    </TaxCatchAll>
    <_dlc_DocIdUrl xmlns="77e7649f-490d-4128-a15a-ad45f7759f3a">
      <Url>https://logic20201.sharepoint.com/Accounts/Microsoft/_layouts/15/DocIdRedir.aspx?ID=KEYNCH3HC7X7-65-38537</Url>
      <Description>KEYNCH3HC7X7-65-38537</Description>
    </_dlc_DocIdUrl>
    <k6941d57f78d455f8ff337c7b8f1aea5 xmlns="77e7649f-490d-4128-a15a-ad45f7759f3a">
      <Terms xmlns="http://schemas.microsoft.com/office/infopath/2007/PartnerControls">
        <TermInfo xmlns="http://schemas.microsoft.com/office/infopath/2007/PartnerControls">
          <TermName xmlns="http://schemas.microsoft.com/office/infopath/2007/PartnerControls">Microsoft</TermName>
          <TermId xmlns="http://schemas.microsoft.com/office/infopath/2007/PartnerControls">d841e977-0b57-4f5c-bd13-db9e556048b6</TermId>
        </TermInfo>
      </Terms>
    </k6941d57f78d455f8ff337c7b8f1aea5>
    <kc22efc0c7794b6ebc38ead8a07c4da7 xmlns="77e7649f-490d-4128-a15a-ad45f7759f3a">
      <Terms xmlns="http://schemas.microsoft.com/office/infopath/2007/PartnerControls"/>
    </kc22efc0c7794b6ebc38ead8a07c4da7>
    <d7a82e4dbf1f407194c754ec70acf2f2 xmlns="77e7649f-490d-4128-a15a-ad45f7759f3a">
      <Terms xmlns="http://schemas.microsoft.com/office/infopath/2007/PartnerControls"/>
    </d7a82e4dbf1f407194c754ec70acf2f2>
    <j798add890ff4429b8eb7b59e7aec171 xmlns="77e7649f-490d-4128-a15a-ad45f7759f3a">
      <Terms xmlns="http://schemas.microsoft.com/office/infopath/2007/PartnerControls"/>
    </j798add890ff4429b8eb7b59e7aec171>
    <od05fc1945b74625b019de7bf4070df8 xmlns="77e7649f-490d-4128-a15a-ad45f7759f3a">
      <Terms xmlns="http://schemas.microsoft.com/office/infopath/2007/PartnerControls">
        <TermInfo xmlns="http://schemas.microsoft.com/office/infopath/2007/PartnerControls">
          <TermName xmlns="http://schemas.microsoft.com/office/infopath/2007/PartnerControls">Document</TermName>
          <TermId xmlns="http://schemas.microsoft.com/office/infopath/2007/PartnerControls">64c15061-4ecf-4866-9082-c78643db035d</TermId>
        </TermInfo>
      </Terms>
    </od05fc1945b74625b019de7bf4070df8>
    <SharedWithUsers xmlns="4291720b-d56c-4019-99f9-a851dacaee12">
      <UserInfo>
        <DisplayName>Kim Talley</DisplayName>
        <AccountId>472</AccountId>
        <AccountType/>
      </UserInfo>
    </SharedWithUsers>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Document" ma:contentTypeID="0x01010071C4669CC7B29248BB41C6A5DCCF1B90" ma:contentTypeVersion="35" ma:contentTypeDescription="Create a new document." ma:contentTypeScope="" ma:versionID="9be23442824f389f500f3ad906504bb1">
  <xsd:schema xmlns:xsd="http://www.w3.org/2001/XMLSchema" xmlns:xs="http://www.w3.org/2001/XMLSchema" xmlns:p="http://schemas.microsoft.com/office/2006/metadata/properties" xmlns:ns2="77e7649f-490d-4128-a15a-ad45f7759f3a" xmlns:ns3="4291720b-d56c-4019-99f9-a851dacaee12" xmlns:ns4="4251db60-8659-4be7-a75f-d470c46b4dd4" targetNamespace="http://schemas.microsoft.com/office/2006/metadata/properties" ma:root="true" ma:fieldsID="ff16fcb305aace21ad4512e703649cdf" ns2:_="" ns3:_="" ns4:_="">
    <xsd:import namespace="77e7649f-490d-4128-a15a-ad45f7759f3a"/>
    <xsd:import namespace="4291720b-d56c-4019-99f9-a851dacaee12"/>
    <xsd:import namespace="4251db60-8659-4be7-a75f-d470c46b4dd4"/>
    <xsd:element name="properties">
      <xsd:complexType>
        <xsd:sequence>
          <xsd:element name="documentManagement">
            <xsd:complexType>
              <xsd:all>
                <xsd:element ref="ns2:DocumentDescription" minOccurs="0"/>
                <xsd:element ref="ns2:_dlc_DocId" minOccurs="0"/>
                <xsd:element ref="ns2:_dlc_DocIdUrl" minOccurs="0"/>
                <xsd:element ref="ns2:_dlc_DocIdPersistId" minOccurs="0"/>
                <xsd:element ref="ns2:TaxCatchAll" minOccurs="0"/>
                <xsd:element ref="ns2:TaxKeywordTaxHTField" minOccurs="0"/>
                <xsd:element ref="ns2:k6941d57f78d455f8ff337c7b8f1aea5" minOccurs="0"/>
                <xsd:element ref="ns2:j798add890ff4429b8eb7b59e7aec171" minOccurs="0"/>
                <xsd:element ref="ns2:od05fc1945b74625b019de7bf4070df8" minOccurs="0"/>
                <xsd:element ref="ns2:kc22efc0c7794b6ebc38ead8a07c4da7" minOccurs="0"/>
                <xsd:element ref="ns2:d7a82e4dbf1f407194c754ec70acf2f2" minOccurs="0"/>
                <xsd:element ref="ns3:SharedWithUsers" minOccurs="0"/>
                <xsd:element ref="ns4:SharingHintHash"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7e7649f-490d-4128-a15a-ad45f7759f3a" elementFormDefault="qualified">
    <xsd:import namespace="http://schemas.microsoft.com/office/2006/documentManagement/types"/>
    <xsd:import namespace="http://schemas.microsoft.com/office/infopath/2007/PartnerControls"/>
    <xsd:element name="DocumentDescription" ma:index="2" nillable="true" ma:displayName="Document Description" ma:internalName="DocumentDescription">
      <xsd:simpleType>
        <xsd:restriction base="dms:Note">
          <xsd:maxLength value="255"/>
        </xsd:restriction>
      </xsd:simpleType>
    </xsd:element>
    <xsd:element name="_dlc_DocId" ma:index="11" nillable="true" ma:displayName="Document ID Value" ma:description="The value of the document ID assigned to this item." ma:internalName="_dlc_DocId" ma:readOnly="true">
      <xsd:simpleType>
        <xsd:restriction base="dms:Text"/>
      </xsd:simpleType>
    </xsd:element>
    <xsd:element name="_dlc_DocIdUrl" ma:index="1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3" nillable="true" ma:displayName="Persist ID" ma:description="Keep ID on add." ma:hidden="true" ma:internalName="_dlc_DocIdPersistId" ma:readOnly="true">
      <xsd:simpleType>
        <xsd:restriction base="dms:Boolean"/>
      </xsd:simpleType>
    </xsd:element>
    <xsd:element name="TaxCatchAll" ma:index="14" nillable="true" ma:displayName="Taxonomy Catch All Column" ma:description="" ma:hidden="true" ma:list="{61ecb560-3f53-41c2-9dca-2ea0ab4a1961}" ma:internalName="TaxCatchAll" ma:showField="CatchAllData" ma:web="77e7649f-490d-4128-a15a-ad45f7759f3a">
      <xsd:complexType>
        <xsd:complexContent>
          <xsd:extension base="dms:MultiChoiceLookup">
            <xsd:sequence>
              <xsd:element name="Value" type="dms:Lookup" maxOccurs="unbounded" minOccurs="0" nillable="true"/>
            </xsd:sequence>
          </xsd:extension>
        </xsd:complexContent>
      </xsd:complexType>
    </xsd:element>
    <xsd:element name="TaxKeywordTaxHTField" ma:index="15" nillable="true" ma:taxonomy="true" ma:internalName="TaxKeywordTaxHTField" ma:taxonomyFieldName="TaxKeyword" ma:displayName="Enterprise Keywords" ma:fieldId="{23f27201-bee3-471e-b2e7-b64fd8b7ca38}" ma:taxonomyMulti="true" ma:sspId="28c460cd-2ede-49fa-b66e-dc0e741a0448" ma:termSetId="00000000-0000-0000-0000-000000000000" ma:anchorId="00000000-0000-0000-0000-000000000000" ma:open="true" ma:isKeyword="true">
      <xsd:complexType>
        <xsd:sequence>
          <xsd:element ref="pc:Terms" minOccurs="0" maxOccurs="1"/>
        </xsd:sequence>
      </xsd:complexType>
    </xsd:element>
    <xsd:element name="k6941d57f78d455f8ff337c7b8f1aea5" ma:index="16" ma:taxonomy="true" ma:internalName="k6941d57f78d455f8ff337c7b8f1aea5" ma:taxonomyFieldName="Account" ma:displayName="Account" ma:readOnly="false" ma:default="15;#Microsoft|d841e977-0b57-4f5c-bd13-db9e556048b6" ma:fieldId="{46941d57-f78d-455f-8ff3-37c7b8f1aea5}" ma:sspId="28c460cd-2ede-49fa-b66e-dc0e741a0448" ma:termSetId="171fd0b3-25b2-4e62-a047-d83ce66d7755" ma:anchorId="00000000-0000-0000-0000-000000000000" ma:open="false" ma:isKeyword="false">
      <xsd:complexType>
        <xsd:sequence>
          <xsd:element ref="pc:Terms" minOccurs="0" maxOccurs="1"/>
        </xsd:sequence>
      </xsd:complexType>
    </xsd:element>
    <xsd:element name="j798add890ff4429b8eb7b59e7aec171" ma:index="17" nillable="true" ma:taxonomy="true" ma:internalName="j798add890ff4429b8eb7b59e7aec171" ma:taxonomyFieldName="Audience1" ma:displayName="Audience" ma:readOnly="false" ma:default="" ma:fieldId="{3798add8-90ff-4429-b8eb-7b59e7aec171}" ma:taxonomyMulti="true" ma:sspId="28c460cd-2ede-49fa-b66e-dc0e741a0448" ma:termSetId="853ac79b-0703-4eda-ba49-24f9f28497a3" ma:anchorId="00000000-0000-0000-0000-000000000000" ma:open="false" ma:isKeyword="false">
      <xsd:complexType>
        <xsd:sequence>
          <xsd:element ref="pc:Terms" minOccurs="0" maxOccurs="1"/>
        </xsd:sequence>
      </xsd:complexType>
    </xsd:element>
    <xsd:element name="od05fc1945b74625b019de7bf4070df8" ma:index="18" ma:taxonomy="true" ma:internalName="od05fc1945b74625b019de7bf4070df8" ma:taxonomyFieldName="ContentType1" ma:displayName="Content Type" ma:readOnly="false" ma:default="14;#Document|64c15061-4ecf-4866-9082-c78643db035d" ma:fieldId="{8d05fc19-45b7-4625-b019-de7bf4070df8}" ma:sspId="28c460cd-2ede-49fa-b66e-dc0e741a0448" ma:termSetId="c6c4b6c3-357a-4a13-8243-677c63c1eee5" ma:anchorId="00000000-0000-0000-0000-000000000000" ma:open="false" ma:isKeyword="false">
      <xsd:complexType>
        <xsd:sequence>
          <xsd:element ref="pc:Terms" minOccurs="0" maxOccurs="1"/>
        </xsd:sequence>
      </xsd:complexType>
    </xsd:element>
    <xsd:element name="kc22efc0c7794b6ebc38ead8a07c4da7" ma:index="19" nillable="true" ma:taxonomy="true" ma:internalName="kc22efc0c7794b6ebc38ead8a07c4da7" ma:taxonomyFieldName="Division" ma:displayName="Division" ma:default="" ma:fieldId="{4c22efc0-c779-4b6e-bc38-ead8a07c4da7}" ma:sspId="28c460cd-2ede-49fa-b66e-dc0e741a0448" ma:termSetId="52038897-d6fc-48f6-9d9a-e869894978cd" ma:anchorId="00000000-0000-0000-0000-000000000000" ma:open="false" ma:isKeyword="false">
      <xsd:complexType>
        <xsd:sequence>
          <xsd:element ref="pc:Terms" minOccurs="0" maxOccurs="1"/>
        </xsd:sequence>
      </xsd:complexType>
    </xsd:element>
    <xsd:element name="d7a82e4dbf1f407194c754ec70acf2f2" ma:index="20" nillable="true" ma:taxonomy="true" ma:internalName="d7a82e4dbf1f407194c754ec70acf2f2" ma:taxonomyFieldName="ItemTypeTag" ma:displayName="Item Type Tag" ma:default="" ma:fieldId="{d7a82e4d-bf1f-4071-94c7-54ec70acf2f2}" ma:sspId="28c460cd-2ede-49fa-b66e-dc0e741a0448" ma:termSetId="438ff5d9-9ef5-495a-93af-e7292ef38f78"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91720b-d56c-4019-99f9-a851dacaee12" elementFormDefault="qualified">
    <xsd:import namespace="http://schemas.microsoft.com/office/2006/documentManagement/types"/>
    <xsd:import namespace="http://schemas.microsoft.com/office/infopath/2007/PartnerControls"/>
    <xsd:element name="SharedWithUsers" ma:index="2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7"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251db60-8659-4be7-a75f-d470c46b4dd4" elementFormDefault="qualified">
    <xsd:import namespace="http://schemas.microsoft.com/office/2006/documentManagement/types"/>
    <xsd:import namespace="http://schemas.microsoft.com/office/infopath/2007/PartnerControls"/>
    <xsd:element name="SharingHintHash" ma:index="26" nillable="true" ma:displayName="Sharing Hint Hash"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1"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2FD6B98-5D6D-4B59-ACD0-BD2596F9C5D5}">
  <ds:schemaRefs>
    <ds:schemaRef ds:uri="http://schemas.microsoft.com/sharepoint/v3/contenttype/forms"/>
  </ds:schemaRefs>
</ds:datastoreItem>
</file>

<file path=customXml/itemProps2.xml><?xml version="1.0" encoding="utf-8"?>
<ds:datastoreItem xmlns:ds="http://schemas.openxmlformats.org/officeDocument/2006/customXml" ds:itemID="{AFBEF8A5-A27D-48BC-84B3-0B85E18EF1CC}">
  <ds:schemaRefs>
    <ds:schemaRef ds:uri="http://schemas.microsoft.com/office/2006/documentManagement/types"/>
    <ds:schemaRef ds:uri="http://purl.org/dc/elements/1.1/"/>
    <ds:schemaRef ds:uri="http://schemas.microsoft.com/office/2006/metadata/properties"/>
    <ds:schemaRef ds:uri="http://schemas.microsoft.com/office/infopath/2007/PartnerControls"/>
    <ds:schemaRef ds:uri="4291720b-d56c-4019-99f9-a851dacaee12"/>
    <ds:schemaRef ds:uri="http://purl.org/dc/terms/"/>
    <ds:schemaRef ds:uri="http://schemas.openxmlformats.org/package/2006/metadata/core-properties"/>
    <ds:schemaRef ds:uri="4251db60-8659-4be7-a75f-d470c46b4dd4"/>
    <ds:schemaRef ds:uri="77e7649f-490d-4128-a15a-ad45f7759f3a"/>
    <ds:schemaRef ds:uri="http://www.w3.org/XML/1998/namespace"/>
    <ds:schemaRef ds:uri="http://purl.org/dc/dcmitype/"/>
  </ds:schemaRefs>
</ds:datastoreItem>
</file>

<file path=customXml/itemProps3.xml><?xml version="1.0" encoding="utf-8"?>
<ds:datastoreItem xmlns:ds="http://schemas.openxmlformats.org/officeDocument/2006/customXml" ds:itemID="{F1D109AA-B63B-4FA9-9630-0A515D30AB51}">
  <ds:schemaRefs>
    <ds:schemaRef ds:uri="http://schemas.microsoft.com/sharepoint/events"/>
  </ds:schemaRefs>
</ds:datastoreItem>
</file>

<file path=customXml/itemProps4.xml><?xml version="1.0" encoding="utf-8"?>
<ds:datastoreItem xmlns:ds="http://schemas.openxmlformats.org/officeDocument/2006/customXml" ds:itemID="{B481EAB0-87DA-45DE-A3F7-A6D0CBB8193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7e7649f-490d-4128-a15a-ad45f7759f3a"/>
    <ds:schemaRef ds:uri="4291720b-d56c-4019-99f9-a851dacaee12"/>
    <ds:schemaRef ds:uri="4251db60-8659-4be7-a75f-d470c46b4dd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8746</Words>
  <Application>Microsoft Office PowerPoint</Application>
  <PresentationFormat>Widescreen</PresentationFormat>
  <Paragraphs>792</Paragraphs>
  <Slides>47</Slides>
  <Notes>41</Notes>
  <HiddenSlides>1</HiddenSlides>
  <MMClips>0</MMClips>
  <ScaleCrop>false</ScaleCrop>
  <HeadingPairs>
    <vt:vector size="8" baseType="variant">
      <vt:variant>
        <vt:lpstr>Fonts Used</vt:lpstr>
      </vt:variant>
      <vt:variant>
        <vt:i4>8</vt:i4>
      </vt:variant>
      <vt:variant>
        <vt:lpstr>Theme</vt:lpstr>
      </vt:variant>
      <vt:variant>
        <vt:i4>13</vt:i4>
      </vt:variant>
      <vt:variant>
        <vt:lpstr>Embedded OLE Servers</vt:lpstr>
      </vt:variant>
      <vt:variant>
        <vt:i4>1</vt:i4>
      </vt:variant>
      <vt:variant>
        <vt:lpstr>Slide Titles</vt:lpstr>
      </vt:variant>
      <vt:variant>
        <vt:i4>47</vt:i4>
      </vt:variant>
    </vt:vector>
  </HeadingPairs>
  <TitlesOfParts>
    <vt:vector size="69" baseType="lpstr">
      <vt:lpstr>Arial</vt:lpstr>
      <vt:lpstr>Arial Black</vt:lpstr>
      <vt:lpstr>Calibri</vt:lpstr>
      <vt:lpstr>Consolas</vt:lpstr>
      <vt:lpstr>Segoe UI</vt:lpstr>
      <vt:lpstr>Segoe UI Light</vt:lpstr>
      <vt:lpstr>Segoe UI Symbol</vt:lpstr>
      <vt:lpstr>Wingdings</vt:lpstr>
      <vt:lpstr>MSVID_White_Blue_Accent_16x9_2013_06</vt:lpstr>
      <vt:lpstr>2_MSVID_White_Blue_Accent_16x9_2013_06</vt:lpstr>
      <vt:lpstr>FY14 MIE Presentation Template_External_16x9</vt:lpstr>
      <vt:lpstr>1_FY14 MIE Presentation Template_External_16x9</vt:lpstr>
      <vt:lpstr>TrustedCloud_White_Blue_Accent_16x9</vt:lpstr>
      <vt:lpstr>1_TrustedCloud_White_Blue_Accent_16x9</vt:lpstr>
      <vt:lpstr>WHITE TEMPLATE</vt:lpstr>
      <vt:lpstr>1_MSVID_White_Blue_Accent_16x9_2013_06</vt:lpstr>
      <vt:lpstr>1_WHITE TEMPLATE</vt:lpstr>
      <vt:lpstr>2_WHITE TEMPLATE</vt:lpstr>
      <vt:lpstr>3_WHITE TEMPLATE</vt:lpstr>
      <vt:lpstr>3_MSVID_White_Blue_Accent_16x9_2013_06</vt:lpstr>
      <vt:lpstr>4_MSVID_White_Blue_Accent_16x9_2013_06</vt:lpstr>
      <vt:lpstr>think-cell Slide</vt:lpstr>
      <vt:lpstr>Notes to the Speaker</vt:lpstr>
      <vt:lpstr>Cybersecurity, an ever-moving target</vt:lpstr>
      <vt:lpstr>PowerPoint Presentation</vt:lpstr>
      <vt:lpstr>PowerPoint Presentation</vt:lpstr>
      <vt:lpstr>When Sony Pictures was hacked</vt:lpstr>
      <vt:lpstr>Cybersecurity … why does it matter?</vt:lpstr>
      <vt:lpstr>The story of a 20-year-old Ukrainian hacker</vt:lpstr>
      <vt:lpstr>PowerPoint Presentation</vt:lpstr>
      <vt:lpstr>PowerPoint Presentation</vt:lpstr>
      <vt:lpstr>This is not an isolated problem</vt:lpstr>
      <vt:lpstr>This is happening everyday, everywhere</vt:lpstr>
      <vt:lpstr>…but there is a bright side: Opportunity</vt:lpstr>
      <vt:lpstr>The Right Person for Cybersecurity</vt:lpstr>
      <vt:lpstr>Black &amp; White Hats</vt:lpstr>
      <vt:lpstr>Bounties for the White Hats</vt:lpstr>
      <vt:lpstr>The Dark Web, a playground for Black Hats</vt:lpstr>
      <vt:lpstr>Bitcoin, a currency of the Dark Web</vt:lpstr>
      <vt:lpstr>Hacking for fun</vt:lpstr>
      <vt:lpstr>The Attack Vectors  (the hacks)</vt:lpstr>
      <vt:lpstr>The history of hacking</vt:lpstr>
      <vt:lpstr>Types of Attack Vectors</vt:lpstr>
      <vt:lpstr>Phishing and SpearPhishing</vt:lpstr>
      <vt:lpstr>Back to the bank heist </vt:lpstr>
      <vt:lpstr>IoT Hacks</vt:lpstr>
      <vt:lpstr>IoT Hacks at Target</vt:lpstr>
      <vt:lpstr>Origins of the cloud</vt:lpstr>
      <vt:lpstr>Today’s Cloud addresses cybersecurity</vt:lpstr>
      <vt:lpstr>Wireless auditing </vt:lpstr>
      <vt:lpstr>Hardware surveillance</vt:lpstr>
      <vt:lpstr>Cell phone surveillance</vt:lpstr>
      <vt:lpstr>SQL Injection Attack</vt:lpstr>
      <vt:lpstr>Story of Little Bobby Tables</vt:lpstr>
      <vt:lpstr>SQL Injection Attack: Countermeasure</vt:lpstr>
      <vt:lpstr>PowerPoint Presentation</vt:lpstr>
      <vt:lpstr>Can passwords be cracked?</vt:lpstr>
      <vt:lpstr>Brute force can break passwords</vt:lpstr>
      <vt:lpstr>Brute force is optimized with a Rainbow Table</vt:lpstr>
      <vt:lpstr>Countermeasure #1: Put some salt on it</vt:lpstr>
      <vt:lpstr>PowerPoint Presentation</vt:lpstr>
      <vt:lpstr>PowerPoint Presentation</vt:lpstr>
      <vt:lpstr>Countermeasures (countering the hack)</vt:lpstr>
      <vt:lpstr>How do we best protect ourselves?</vt:lpstr>
      <vt:lpstr>A move to detection and response</vt:lpstr>
      <vt:lpstr>Surfing the wave of cyber crime</vt:lpstr>
      <vt:lpstr>Opportunities are vast</vt:lpstr>
      <vt:lpstr>Your next steps</vt:lpstr>
      <vt:lpstr>Refer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utline</dc:title>
  <dc:creator/>
  <cp:keywords/>
  <cp:lastModifiedBy/>
  <cp:revision>2</cp:revision>
  <dcterms:created xsi:type="dcterms:W3CDTF">2015-07-31T23:22:49Z</dcterms:created>
  <dcterms:modified xsi:type="dcterms:W3CDTF">2016-06-17T20:16: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1C4669CC7B29248BB41C6A5DCCF1B90</vt:lpwstr>
  </property>
  <property fmtid="{D5CDD505-2E9C-101B-9397-08002B2CF9AE}" pid="3" name="Created By">
    <vt:lpwstr>i:0#.f|membership|v-caicha@microsoft.com</vt:lpwstr>
  </property>
  <property fmtid="{D5CDD505-2E9C-101B-9397-08002B2CF9AE}" pid="4" name="Modified By">
    <vt:lpwstr>i:0#.f|membership|v-aaja@microsoft.com</vt:lpwstr>
  </property>
  <property fmtid="{D5CDD505-2E9C-101B-9397-08002B2CF9AE}" pid="5" name="FileLeafRef">
    <vt:lpwstr>Updated FY15 WWPS Cybersecurity_Core Deck_ 100 level.pptx</vt:lpwstr>
  </property>
  <property fmtid="{D5CDD505-2E9C-101B-9397-08002B2CF9AE}" pid="6" name="TechnicalLevel">
    <vt:lpwstr/>
  </property>
  <property fmtid="{D5CDD505-2E9C-101B-9397-08002B2CF9AE}" pid="7" name="Audiences">
    <vt:lpwstr/>
  </property>
  <property fmtid="{D5CDD505-2E9C-101B-9397-08002B2CF9AE}" pid="8" name="TaxKeyword">
    <vt:lpwstr/>
  </property>
  <property fmtid="{D5CDD505-2E9C-101B-9397-08002B2CF9AE}" pid="9" name="Region">
    <vt:lpwstr/>
  </property>
  <property fmtid="{D5CDD505-2E9C-101B-9397-08002B2CF9AE}" pid="10" name="Confidentiality">
    <vt:lpwstr/>
  </property>
  <property fmtid="{D5CDD505-2E9C-101B-9397-08002B2CF9AE}" pid="11" name="ItemType">
    <vt:lpwstr/>
  </property>
  <property fmtid="{D5CDD505-2E9C-101B-9397-08002B2CF9AE}" pid="12" name="Roles">
    <vt:lpwstr/>
  </property>
  <property fmtid="{D5CDD505-2E9C-101B-9397-08002B2CF9AE}" pid="13" name="Industries">
    <vt:lpwstr/>
  </property>
  <property fmtid="{D5CDD505-2E9C-101B-9397-08002B2CF9AE}" pid="14" name="Competitors">
    <vt:lpwstr/>
  </property>
  <property fmtid="{D5CDD505-2E9C-101B-9397-08002B2CF9AE}" pid="15" name="SMSGDomain">
    <vt:lpwstr/>
  </property>
  <property fmtid="{D5CDD505-2E9C-101B-9397-08002B2CF9AE}" pid="16" name="BusinessArchitecture">
    <vt:lpwstr/>
  </property>
  <property fmtid="{D5CDD505-2E9C-101B-9397-08002B2CF9AE}" pid="17" name="Products">
    <vt:lpwstr/>
  </property>
  <property fmtid="{D5CDD505-2E9C-101B-9397-08002B2CF9AE}" pid="18" name="EnterpriseDomainTags">
    <vt:lpwstr/>
  </property>
  <property fmtid="{D5CDD505-2E9C-101B-9397-08002B2CF9AE}" pid="19" name="Segments">
    <vt:lpwstr/>
  </property>
  <property fmtid="{D5CDD505-2E9C-101B-9397-08002B2CF9AE}" pid="20" name="Partners">
    <vt:lpwstr/>
  </property>
  <property fmtid="{D5CDD505-2E9C-101B-9397-08002B2CF9AE}" pid="21" name="ActivitiesAndPrograms">
    <vt:lpwstr/>
  </property>
  <property fmtid="{D5CDD505-2E9C-101B-9397-08002B2CF9AE}" pid="22" name="Groups">
    <vt:lpwstr/>
  </property>
  <property fmtid="{D5CDD505-2E9C-101B-9397-08002B2CF9AE}" pid="23" name="Topics">
    <vt:lpwstr/>
  </property>
  <property fmtid="{D5CDD505-2E9C-101B-9397-08002B2CF9AE}" pid="24" name="Languages">
    <vt:lpwstr/>
  </property>
  <property fmtid="{D5CDD505-2E9C-101B-9397-08002B2CF9AE}" pid="25" name="_dlc_DocIdItemGuid">
    <vt:lpwstr>e6df1bb9-6c39-4f65-89f9-51abe25f7ef5</vt:lpwstr>
  </property>
  <property fmtid="{D5CDD505-2E9C-101B-9397-08002B2CF9AE}" pid="26" name="source_item_id">
    <vt:lpwstr>20748</vt:lpwstr>
  </property>
  <property fmtid="{D5CDD505-2E9C-101B-9397-08002B2CF9AE}" pid="27" name="of67e5d4b76f4a9db8769983fda9cec0">
    <vt:lpwstr/>
  </property>
  <property fmtid="{D5CDD505-2E9C-101B-9397-08002B2CF9AE}" pid="28" name="NewsType">
    <vt:lpwstr/>
  </property>
  <property fmtid="{D5CDD505-2E9C-101B-9397-08002B2CF9AE}" pid="29" name="ga0c0bf70a6644469c61b3efa7025301">
    <vt:lpwstr/>
  </property>
  <property fmtid="{D5CDD505-2E9C-101B-9397-08002B2CF9AE}" pid="30" name="MSProducts">
    <vt:lpwstr/>
  </property>
  <property fmtid="{D5CDD505-2E9C-101B-9397-08002B2CF9AE}" pid="31" name="ExperienceContentType">
    <vt:lpwstr/>
  </property>
  <property fmtid="{D5CDD505-2E9C-101B-9397-08002B2CF9AE}" pid="32" name="SMSGTags">
    <vt:lpwstr/>
  </property>
  <property fmtid="{D5CDD505-2E9C-101B-9397-08002B2CF9AE}" pid="33" name="MSPhysicalGeography">
    <vt:lpwstr/>
  </property>
  <property fmtid="{D5CDD505-2E9C-101B-9397-08002B2CF9AE}" pid="34" name="j3562c58ee414e028925bc902cfc01a1">
    <vt:lpwstr/>
  </property>
  <property fmtid="{D5CDD505-2E9C-101B-9397-08002B2CF9AE}" pid="35" name="l6f004f21209409da86a713c0f24627d">
    <vt:lpwstr/>
  </property>
  <property fmtid="{D5CDD505-2E9C-101B-9397-08002B2CF9AE}" pid="36" name="la4444b61d19467597d63190b69ac227">
    <vt:lpwstr/>
  </property>
  <property fmtid="{D5CDD505-2E9C-101B-9397-08002B2CF9AE}" pid="37" name="MSProductsTaxHTField0">
    <vt:lpwstr/>
  </property>
  <property fmtid="{D5CDD505-2E9C-101B-9397-08002B2CF9AE}" pid="38" name="_docset_NoMedatataSyncRequired">
    <vt:lpwstr>False</vt:lpwstr>
  </property>
  <property fmtid="{D5CDD505-2E9C-101B-9397-08002B2CF9AE}" pid="39" name="e8080b0481964c759b2c36ae49591b31">
    <vt:lpwstr/>
  </property>
  <property fmtid="{D5CDD505-2E9C-101B-9397-08002B2CF9AE}" pid="40" name="ldac8aee9d1f469e8cd8c3f8d6a615f2">
    <vt:lpwstr/>
  </property>
  <property fmtid="{D5CDD505-2E9C-101B-9397-08002B2CF9AE}" pid="41" name="EmployeeRole">
    <vt:lpwstr/>
  </property>
  <property fmtid="{D5CDD505-2E9C-101B-9397-08002B2CF9AE}" pid="42" name="NewsTopic">
    <vt:lpwstr/>
  </property>
  <property fmtid="{D5CDD505-2E9C-101B-9397-08002B2CF9AE}" pid="43" name="NewsSource">
    <vt:lpwstr/>
  </property>
  <property fmtid="{D5CDD505-2E9C-101B-9397-08002B2CF9AE}" pid="44" name="_dlc_policyId">
    <vt:lpwstr/>
  </property>
  <property fmtid="{D5CDD505-2E9C-101B-9397-08002B2CF9AE}" pid="45" name="ItemRetentionFormula">
    <vt:lpwstr/>
  </property>
  <property fmtid="{D5CDD505-2E9C-101B-9397-08002B2CF9AE}" pid="46" name="Account">
    <vt:lpwstr>15;#Microsoft|d841e977-0b57-4f5c-bd13-db9e556048b6</vt:lpwstr>
  </property>
  <property fmtid="{D5CDD505-2E9C-101B-9397-08002B2CF9AE}" pid="47" name="Division">
    <vt:lpwstr/>
  </property>
  <property fmtid="{D5CDD505-2E9C-101B-9397-08002B2CF9AE}" pid="48" name="ItemTypeTag">
    <vt:lpwstr/>
  </property>
  <property fmtid="{D5CDD505-2E9C-101B-9397-08002B2CF9AE}" pid="49" name="Audience1">
    <vt:lpwstr/>
  </property>
  <property fmtid="{D5CDD505-2E9C-101B-9397-08002B2CF9AE}" pid="50" name="ContentType1">
    <vt:lpwstr>14;#Document|64c15061-4ecf-4866-9082-c78643db035d</vt:lpwstr>
  </property>
</Properties>
</file>